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5" r:id="rId4"/>
  </p:sldMasterIdLst>
  <p:notesMasterIdLst>
    <p:notesMasterId r:id="rId21"/>
  </p:notesMasterIdLst>
  <p:sldIdLst>
    <p:sldId id="256" r:id="rId5"/>
    <p:sldId id="318" r:id="rId6"/>
    <p:sldId id="319" r:id="rId7"/>
    <p:sldId id="320" r:id="rId8"/>
    <p:sldId id="316" r:id="rId9"/>
    <p:sldId id="321" r:id="rId10"/>
    <p:sldId id="324" r:id="rId11"/>
    <p:sldId id="328" r:id="rId12"/>
    <p:sldId id="325" r:id="rId13"/>
    <p:sldId id="326" r:id="rId14"/>
    <p:sldId id="327" r:id="rId15"/>
    <p:sldId id="329" r:id="rId16"/>
    <p:sldId id="322" r:id="rId17"/>
    <p:sldId id="330" r:id="rId18"/>
    <p:sldId id="331" r:id="rId19"/>
    <p:sldId id="332" r:id="rId20"/>
  </p:sldIdLst>
  <p:sldSz cx="9144000" cy="5143500" type="screen16x9"/>
  <p:notesSz cx="6797675" cy="9926638"/>
  <p:custDataLst>
    <p:tags r:id="rId22"/>
  </p:custDataLst>
  <p:defaultTextStyle>
    <a:defPPr>
      <a:defRPr lang="nb-NO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49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41" d="100"/>
          <a:sy n="141" d="100"/>
        </p:scale>
        <p:origin x="744" y="132"/>
      </p:cViewPr>
      <p:guideLst>
        <p:guide orient="horz" pos="849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Relationship Id="rId27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men Pedersen" userId="861d03d5-74ba-4c68-9f0d-8e998e6f7f20" providerId="ADAL" clId="{6D55F64D-2611-42C3-8002-663DA82A62CA}"/>
    <pc:docChg chg="custSel modSld">
      <pc:chgData name="Simen Pedersen" userId="861d03d5-74ba-4c68-9f0d-8e998e6f7f20" providerId="ADAL" clId="{6D55F64D-2611-42C3-8002-663DA82A62CA}" dt="2023-11-15T09:57:50.668" v="313" actId="27636"/>
      <pc:docMkLst>
        <pc:docMk/>
      </pc:docMkLst>
      <pc:sldChg chg="modSp mod">
        <pc:chgData name="Simen Pedersen" userId="861d03d5-74ba-4c68-9f0d-8e998e6f7f20" providerId="ADAL" clId="{6D55F64D-2611-42C3-8002-663DA82A62CA}" dt="2023-11-15T09:57:50.668" v="313" actId="27636"/>
        <pc:sldMkLst>
          <pc:docMk/>
          <pc:sldMk cId="432886956" sldId="316"/>
        </pc:sldMkLst>
        <pc:spChg chg="mod">
          <ac:chgData name="Simen Pedersen" userId="861d03d5-74ba-4c68-9f0d-8e998e6f7f20" providerId="ADAL" clId="{6D55F64D-2611-42C3-8002-663DA82A62CA}" dt="2023-11-15T09:57:50.668" v="313" actId="27636"/>
          <ac:spMkLst>
            <pc:docMk/>
            <pc:sldMk cId="432886956" sldId="316"/>
            <ac:spMk id="7" creationId="{95F7CE9C-BA9F-47F5-94FE-843DC76EC3AE}"/>
          </ac:spMkLst>
        </pc:spChg>
        <pc:spChg chg="mod">
          <ac:chgData name="Simen Pedersen" userId="861d03d5-74ba-4c68-9f0d-8e998e6f7f20" providerId="ADAL" clId="{6D55F64D-2611-42C3-8002-663DA82A62CA}" dt="2023-11-15T09:52:02.252" v="168" actId="1076"/>
          <ac:spMkLst>
            <pc:docMk/>
            <pc:sldMk cId="432886956" sldId="316"/>
            <ac:spMk id="25" creationId="{82F64F7C-C6FC-4001-865D-282F206E071D}"/>
          </ac:spMkLst>
        </pc:spChg>
        <pc:graphicFrameChg chg="mod">
          <ac:chgData name="Simen Pedersen" userId="861d03d5-74ba-4c68-9f0d-8e998e6f7f20" providerId="ADAL" clId="{6D55F64D-2611-42C3-8002-663DA82A62CA}" dt="2023-11-15T09:51:58.918" v="167" actId="1076"/>
          <ac:graphicFrameMkLst>
            <pc:docMk/>
            <pc:sldMk cId="432886956" sldId="316"/>
            <ac:graphicFrameMk id="24" creationId="{E9292628-D148-41EF-A755-9D8C71E3208E}"/>
          </ac:graphicFrameMkLst>
        </pc:graphicFrameChg>
      </pc:sldChg>
      <pc:sldChg chg="modSp mod">
        <pc:chgData name="Simen Pedersen" userId="861d03d5-74ba-4c68-9f0d-8e998e6f7f20" providerId="ADAL" clId="{6D55F64D-2611-42C3-8002-663DA82A62CA}" dt="2023-11-15T09:48:19.759" v="4" actId="14100"/>
        <pc:sldMkLst>
          <pc:docMk/>
          <pc:sldMk cId="2273095768" sldId="329"/>
        </pc:sldMkLst>
        <pc:spChg chg="mod">
          <ac:chgData name="Simen Pedersen" userId="861d03d5-74ba-4c68-9f0d-8e998e6f7f20" providerId="ADAL" clId="{6D55F64D-2611-42C3-8002-663DA82A62CA}" dt="2023-11-15T09:48:19.759" v="4" actId="14100"/>
          <ac:spMkLst>
            <pc:docMk/>
            <pc:sldMk cId="2273095768" sldId="329"/>
            <ac:spMk id="18" creationId="{D4C1091A-3AF3-4438-9C3C-C892189361CE}"/>
          </ac:spMkLst>
        </pc:spChg>
        <pc:spChg chg="mod">
          <ac:chgData name="Simen Pedersen" userId="861d03d5-74ba-4c68-9f0d-8e998e6f7f20" providerId="ADAL" clId="{6D55F64D-2611-42C3-8002-663DA82A62CA}" dt="2023-11-15T09:48:15.046" v="1" actId="1076"/>
          <ac:spMkLst>
            <pc:docMk/>
            <pc:sldMk cId="2273095768" sldId="329"/>
            <ac:spMk id="20" creationId="{91E39E8F-5254-44F9-849A-403C7AE1A424}"/>
          </ac:spMkLst>
        </pc:spChg>
        <pc:spChg chg="mod">
          <ac:chgData name="Simen Pedersen" userId="861d03d5-74ba-4c68-9f0d-8e998e6f7f20" providerId="ADAL" clId="{6D55F64D-2611-42C3-8002-663DA82A62CA}" dt="2023-11-15T09:48:15.046" v="1" actId="1076"/>
          <ac:spMkLst>
            <pc:docMk/>
            <pc:sldMk cId="2273095768" sldId="329"/>
            <ac:spMk id="23" creationId="{21A51151-9AC6-4592-9094-40E75A144D67}"/>
          </ac:spMkLst>
        </pc:spChg>
        <pc:picChg chg="mod">
          <ac:chgData name="Simen Pedersen" userId="861d03d5-74ba-4c68-9f0d-8e998e6f7f20" providerId="ADAL" clId="{6D55F64D-2611-42C3-8002-663DA82A62CA}" dt="2023-11-15T09:48:15.046" v="1" actId="1076"/>
          <ac:picMkLst>
            <pc:docMk/>
            <pc:sldMk cId="2273095768" sldId="329"/>
            <ac:picMk id="21" creationId="{F0CD8E12-698A-49E3-B1AD-1DE49243C2B7}"/>
          </ac:picMkLst>
        </pc:pic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image" Target="../media/image10.jpeg"/><Relationship Id="rId4" Type="http://schemas.openxmlformats.org/officeDocument/2006/relationships/image" Target="../media/image13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image" Target="../media/image10.jpeg"/><Relationship Id="rId4" Type="http://schemas.openxmlformats.org/officeDocument/2006/relationships/image" Target="../media/image13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FDF225E-57D0-41C7-B837-2B7006E3CF7A}" type="doc">
      <dgm:prSet loTypeId="urn:microsoft.com/office/officeart/2009/layout/CirclePictureHierarchy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nb-NO"/>
        </a:p>
      </dgm:t>
    </dgm:pt>
    <dgm:pt modelId="{AE84024F-DAE6-4179-BAD6-AD9CE30220B5}">
      <dgm:prSet phldrT="[Tekst]"/>
      <dgm:spPr/>
      <dgm:t>
        <a:bodyPr/>
        <a:lstStyle/>
        <a:p>
          <a:r>
            <a:rPr lang="nb-NO"/>
            <a:t>Kommunene som tjenesteyter</a:t>
          </a:r>
        </a:p>
      </dgm:t>
    </dgm:pt>
    <dgm:pt modelId="{A9F97419-26F2-46BA-87B3-85B2B81851C0}" type="parTrans" cxnId="{6C0789CE-590A-42D1-80AF-9C7AE0B7F14C}">
      <dgm:prSet/>
      <dgm:spPr/>
      <dgm:t>
        <a:bodyPr/>
        <a:lstStyle/>
        <a:p>
          <a:endParaRPr lang="nb-NO"/>
        </a:p>
      </dgm:t>
    </dgm:pt>
    <dgm:pt modelId="{56973378-0BED-49F2-85B6-BBCE2AFDE3D1}" type="sibTrans" cxnId="{6C0789CE-590A-42D1-80AF-9C7AE0B7F14C}">
      <dgm:prSet/>
      <dgm:spPr/>
      <dgm:t>
        <a:bodyPr/>
        <a:lstStyle/>
        <a:p>
          <a:endParaRPr lang="nb-NO"/>
        </a:p>
      </dgm:t>
    </dgm:pt>
    <dgm:pt modelId="{2A9B4AAE-6650-4324-BEE2-5430ABC32AD0}">
      <dgm:prSet phldrT="[Tekst]"/>
      <dgm:spPr/>
      <dgm:t>
        <a:bodyPr/>
        <a:lstStyle/>
        <a:p>
          <a:r>
            <a:rPr lang="nb-NO"/>
            <a:t>Kommunene som myndighetsutøver </a:t>
          </a:r>
        </a:p>
      </dgm:t>
    </dgm:pt>
    <dgm:pt modelId="{28F5FE0F-79A1-453F-894A-5B35956A5AA5}" type="parTrans" cxnId="{27AD1675-C9E3-4340-A8D5-8CF14F0DA811}">
      <dgm:prSet/>
      <dgm:spPr/>
      <dgm:t>
        <a:bodyPr/>
        <a:lstStyle/>
        <a:p>
          <a:endParaRPr lang="nb-NO"/>
        </a:p>
      </dgm:t>
    </dgm:pt>
    <dgm:pt modelId="{8EFBDA46-99FF-4D72-A85E-9E46EAC94784}" type="sibTrans" cxnId="{27AD1675-C9E3-4340-A8D5-8CF14F0DA811}">
      <dgm:prSet/>
      <dgm:spPr/>
      <dgm:t>
        <a:bodyPr/>
        <a:lstStyle/>
        <a:p>
          <a:endParaRPr lang="nb-NO"/>
        </a:p>
      </dgm:t>
    </dgm:pt>
    <dgm:pt modelId="{DDACAEB9-3463-437B-9C06-A7E5617B8A09}">
      <dgm:prSet phldrT="[Tekst]"/>
      <dgm:spPr/>
      <dgm:t>
        <a:bodyPr/>
        <a:lstStyle/>
        <a:p>
          <a:r>
            <a:rPr lang="nb-NO"/>
            <a:t>Kommunene som samfunnsutvikler</a:t>
          </a:r>
        </a:p>
      </dgm:t>
    </dgm:pt>
    <dgm:pt modelId="{F518840A-EBD1-4C74-A192-85E7D57AD89B}" type="parTrans" cxnId="{88DDC79A-0A52-4AAE-97C0-CF44356D85E7}">
      <dgm:prSet/>
      <dgm:spPr/>
      <dgm:t>
        <a:bodyPr/>
        <a:lstStyle/>
        <a:p>
          <a:endParaRPr lang="nb-NO"/>
        </a:p>
      </dgm:t>
    </dgm:pt>
    <dgm:pt modelId="{18B358B1-C5BB-4231-B33F-C3E31DDB6017}" type="sibTrans" cxnId="{88DDC79A-0A52-4AAE-97C0-CF44356D85E7}">
      <dgm:prSet/>
      <dgm:spPr/>
      <dgm:t>
        <a:bodyPr/>
        <a:lstStyle/>
        <a:p>
          <a:endParaRPr lang="nb-NO"/>
        </a:p>
      </dgm:t>
    </dgm:pt>
    <dgm:pt modelId="{54233D9E-BD80-4245-8B94-D97C2EE7C004}">
      <dgm:prSet phldrT="[Tekst]"/>
      <dgm:spPr/>
      <dgm:t>
        <a:bodyPr/>
        <a:lstStyle/>
        <a:p>
          <a:r>
            <a:rPr lang="nb-NO"/>
            <a:t>Kommunene som demokratisk arena</a:t>
          </a:r>
        </a:p>
      </dgm:t>
    </dgm:pt>
    <dgm:pt modelId="{5FAE88FC-2045-4CA4-AE6E-09DC7E83E303}" type="parTrans" cxnId="{1561342F-A6E8-419E-932B-BD70360F7AD0}">
      <dgm:prSet/>
      <dgm:spPr/>
      <dgm:t>
        <a:bodyPr/>
        <a:lstStyle/>
        <a:p>
          <a:endParaRPr lang="nb-NO"/>
        </a:p>
      </dgm:t>
    </dgm:pt>
    <dgm:pt modelId="{569E3038-B118-4D35-8B68-1427590907A6}" type="sibTrans" cxnId="{1561342F-A6E8-419E-932B-BD70360F7AD0}">
      <dgm:prSet/>
      <dgm:spPr/>
      <dgm:t>
        <a:bodyPr/>
        <a:lstStyle/>
        <a:p>
          <a:endParaRPr lang="nb-NO"/>
        </a:p>
      </dgm:t>
    </dgm:pt>
    <dgm:pt modelId="{A9976BEE-F4B6-4A70-9EB3-613F9DAD4C77}" type="pres">
      <dgm:prSet presAssocID="{DFDF225E-57D0-41C7-B837-2B7006E3CF7A}" presName="hierChild1" presStyleCnt="0">
        <dgm:presLayoutVars>
          <dgm:chPref val="1"/>
          <dgm:dir/>
          <dgm:animOne val="branch"/>
          <dgm:animLvl val="lvl"/>
          <dgm:resizeHandles/>
        </dgm:presLayoutVars>
      </dgm:prSet>
      <dgm:spPr/>
    </dgm:pt>
    <dgm:pt modelId="{B9D2EC70-1FA4-4775-8A6C-0C2FE6CD01BF}" type="pres">
      <dgm:prSet presAssocID="{AE84024F-DAE6-4179-BAD6-AD9CE30220B5}" presName="hierRoot1" presStyleCnt="0"/>
      <dgm:spPr/>
    </dgm:pt>
    <dgm:pt modelId="{A319D4D9-3E23-4986-9F5F-CA6A88D91CE9}" type="pres">
      <dgm:prSet presAssocID="{AE84024F-DAE6-4179-BAD6-AD9CE30220B5}" presName="composite" presStyleCnt="0"/>
      <dgm:spPr/>
    </dgm:pt>
    <dgm:pt modelId="{3C5C9F3D-19C9-496C-8DC1-D93D080CAE18}" type="pres">
      <dgm:prSet presAssocID="{AE84024F-DAE6-4179-BAD6-AD9CE30220B5}" presName="image" presStyleLbl="node0" presStyleIdx="0" presStyleCnt="4"/>
      <dgm:spPr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ACCA75F0-185E-47A5-83DF-119AC25FAB5E}" type="pres">
      <dgm:prSet presAssocID="{AE84024F-DAE6-4179-BAD6-AD9CE30220B5}" presName="text" presStyleLbl="revTx" presStyleIdx="0" presStyleCnt="4">
        <dgm:presLayoutVars>
          <dgm:chPref val="3"/>
        </dgm:presLayoutVars>
      </dgm:prSet>
      <dgm:spPr/>
    </dgm:pt>
    <dgm:pt modelId="{B0BA1C9E-CE4E-419E-BF0E-A35848FBE38D}" type="pres">
      <dgm:prSet presAssocID="{AE84024F-DAE6-4179-BAD6-AD9CE30220B5}" presName="hierChild2" presStyleCnt="0"/>
      <dgm:spPr/>
    </dgm:pt>
    <dgm:pt modelId="{E00B5F7E-9E81-4B1D-A610-87D2D84AD580}" type="pres">
      <dgm:prSet presAssocID="{2A9B4AAE-6650-4324-BEE2-5430ABC32AD0}" presName="hierRoot1" presStyleCnt="0"/>
      <dgm:spPr/>
    </dgm:pt>
    <dgm:pt modelId="{E1C0A78B-9B76-4495-8716-FE3D18790215}" type="pres">
      <dgm:prSet presAssocID="{2A9B4AAE-6650-4324-BEE2-5430ABC32AD0}" presName="composite" presStyleCnt="0"/>
      <dgm:spPr/>
    </dgm:pt>
    <dgm:pt modelId="{0D62C892-9AE0-44DC-956C-215F4EC31A08}" type="pres">
      <dgm:prSet presAssocID="{2A9B4AAE-6650-4324-BEE2-5430ABC32AD0}" presName="image" presStyleLbl="node0" presStyleIdx="1" presStyleCnt="4"/>
      <dgm:spPr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CFD5690D-2BAD-4530-B19E-5D14F76D4066}" type="pres">
      <dgm:prSet presAssocID="{2A9B4AAE-6650-4324-BEE2-5430ABC32AD0}" presName="text" presStyleLbl="revTx" presStyleIdx="1" presStyleCnt="4">
        <dgm:presLayoutVars>
          <dgm:chPref val="3"/>
        </dgm:presLayoutVars>
      </dgm:prSet>
      <dgm:spPr/>
    </dgm:pt>
    <dgm:pt modelId="{3F8DA397-17D6-4C0F-8DE3-9E81865EDDB3}" type="pres">
      <dgm:prSet presAssocID="{2A9B4AAE-6650-4324-BEE2-5430ABC32AD0}" presName="hierChild2" presStyleCnt="0"/>
      <dgm:spPr/>
    </dgm:pt>
    <dgm:pt modelId="{F34974AF-99CE-49A6-978C-FD03A080FB8A}" type="pres">
      <dgm:prSet presAssocID="{DDACAEB9-3463-437B-9C06-A7E5617B8A09}" presName="hierRoot1" presStyleCnt="0"/>
      <dgm:spPr/>
    </dgm:pt>
    <dgm:pt modelId="{99D55D58-A7A0-4139-B247-1261462FE87E}" type="pres">
      <dgm:prSet presAssocID="{DDACAEB9-3463-437B-9C06-A7E5617B8A09}" presName="composite" presStyleCnt="0"/>
      <dgm:spPr/>
    </dgm:pt>
    <dgm:pt modelId="{A66F3B44-DB86-458A-A973-90D7EA0B3084}" type="pres">
      <dgm:prSet presAssocID="{DDACAEB9-3463-437B-9C06-A7E5617B8A09}" presName="image" presStyleLbl="node0" presStyleIdx="2" presStyleCnt="4"/>
      <dgm:spPr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6CE7DDDE-16FB-4C48-A947-675F7CEBC23B}" type="pres">
      <dgm:prSet presAssocID="{DDACAEB9-3463-437B-9C06-A7E5617B8A09}" presName="text" presStyleLbl="revTx" presStyleIdx="2" presStyleCnt="4">
        <dgm:presLayoutVars>
          <dgm:chPref val="3"/>
        </dgm:presLayoutVars>
      </dgm:prSet>
      <dgm:spPr/>
    </dgm:pt>
    <dgm:pt modelId="{1B09A88A-E612-4EF3-B6BB-CAD18246DF84}" type="pres">
      <dgm:prSet presAssocID="{DDACAEB9-3463-437B-9C06-A7E5617B8A09}" presName="hierChild2" presStyleCnt="0"/>
      <dgm:spPr/>
    </dgm:pt>
    <dgm:pt modelId="{FD047FC9-D2A3-491F-BC6C-AADDD5F5D6E5}" type="pres">
      <dgm:prSet presAssocID="{54233D9E-BD80-4245-8B94-D97C2EE7C004}" presName="hierRoot1" presStyleCnt="0"/>
      <dgm:spPr/>
    </dgm:pt>
    <dgm:pt modelId="{63CBE970-2631-4ED5-805D-BCCA43A3546B}" type="pres">
      <dgm:prSet presAssocID="{54233D9E-BD80-4245-8B94-D97C2EE7C004}" presName="composite" presStyleCnt="0"/>
      <dgm:spPr/>
    </dgm:pt>
    <dgm:pt modelId="{7865373E-D8D5-41BD-97BC-D1436EBDC68C}" type="pres">
      <dgm:prSet presAssocID="{54233D9E-BD80-4245-8B94-D97C2EE7C004}" presName="image" presStyleLbl="node0" presStyleIdx="3" presStyleCnt="4"/>
      <dgm:spPr>
        <a:blipFill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4B13D3C5-A19A-4ECE-90F2-FEBC6A56FB56}" type="pres">
      <dgm:prSet presAssocID="{54233D9E-BD80-4245-8B94-D97C2EE7C004}" presName="text" presStyleLbl="revTx" presStyleIdx="3" presStyleCnt="4">
        <dgm:presLayoutVars>
          <dgm:chPref val="3"/>
        </dgm:presLayoutVars>
      </dgm:prSet>
      <dgm:spPr/>
    </dgm:pt>
    <dgm:pt modelId="{477F085C-6157-4DE3-8705-7967518F1836}" type="pres">
      <dgm:prSet presAssocID="{54233D9E-BD80-4245-8B94-D97C2EE7C004}" presName="hierChild2" presStyleCnt="0"/>
      <dgm:spPr/>
    </dgm:pt>
  </dgm:ptLst>
  <dgm:cxnLst>
    <dgm:cxn modelId="{1561342F-A6E8-419E-932B-BD70360F7AD0}" srcId="{DFDF225E-57D0-41C7-B837-2B7006E3CF7A}" destId="{54233D9E-BD80-4245-8B94-D97C2EE7C004}" srcOrd="3" destOrd="0" parTransId="{5FAE88FC-2045-4CA4-AE6E-09DC7E83E303}" sibTransId="{569E3038-B118-4D35-8B68-1427590907A6}"/>
    <dgm:cxn modelId="{4E4AB04A-63E4-4A26-BA1F-6AE3CB1C97B0}" type="presOf" srcId="{54233D9E-BD80-4245-8B94-D97C2EE7C004}" destId="{4B13D3C5-A19A-4ECE-90F2-FEBC6A56FB56}" srcOrd="0" destOrd="0" presId="urn:microsoft.com/office/officeart/2009/layout/CirclePictureHierarchy"/>
    <dgm:cxn modelId="{30094474-D5AE-4347-91C4-5ABECF3F39AE}" type="presOf" srcId="{AE84024F-DAE6-4179-BAD6-AD9CE30220B5}" destId="{ACCA75F0-185E-47A5-83DF-119AC25FAB5E}" srcOrd="0" destOrd="0" presId="urn:microsoft.com/office/officeart/2009/layout/CirclePictureHierarchy"/>
    <dgm:cxn modelId="{27AD1675-C9E3-4340-A8D5-8CF14F0DA811}" srcId="{DFDF225E-57D0-41C7-B837-2B7006E3CF7A}" destId="{2A9B4AAE-6650-4324-BEE2-5430ABC32AD0}" srcOrd="1" destOrd="0" parTransId="{28F5FE0F-79A1-453F-894A-5B35956A5AA5}" sibTransId="{8EFBDA46-99FF-4D72-A85E-9E46EAC94784}"/>
    <dgm:cxn modelId="{69864090-112D-4B92-BD40-D409C583243C}" type="presOf" srcId="{2A9B4AAE-6650-4324-BEE2-5430ABC32AD0}" destId="{CFD5690D-2BAD-4530-B19E-5D14F76D4066}" srcOrd="0" destOrd="0" presId="urn:microsoft.com/office/officeart/2009/layout/CirclePictureHierarchy"/>
    <dgm:cxn modelId="{88DDC79A-0A52-4AAE-97C0-CF44356D85E7}" srcId="{DFDF225E-57D0-41C7-B837-2B7006E3CF7A}" destId="{DDACAEB9-3463-437B-9C06-A7E5617B8A09}" srcOrd="2" destOrd="0" parTransId="{F518840A-EBD1-4C74-A192-85E7D57AD89B}" sibTransId="{18B358B1-C5BB-4231-B33F-C3E31DDB6017}"/>
    <dgm:cxn modelId="{4C573A9D-0A04-4310-91A5-2844AAD872B7}" type="presOf" srcId="{DFDF225E-57D0-41C7-B837-2B7006E3CF7A}" destId="{A9976BEE-F4B6-4A70-9EB3-613F9DAD4C77}" srcOrd="0" destOrd="0" presId="urn:microsoft.com/office/officeart/2009/layout/CirclePictureHierarchy"/>
    <dgm:cxn modelId="{85E5AAA6-9660-4860-A186-A4474734F4FE}" type="presOf" srcId="{DDACAEB9-3463-437B-9C06-A7E5617B8A09}" destId="{6CE7DDDE-16FB-4C48-A947-675F7CEBC23B}" srcOrd="0" destOrd="0" presId="urn:microsoft.com/office/officeart/2009/layout/CirclePictureHierarchy"/>
    <dgm:cxn modelId="{6C0789CE-590A-42D1-80AF-9C7AE0B7F14C}" srcId="{DFDF225E-57D0-41C7-B837-2B7006E3CF7A}" destId="{AE84024F-DAE6-4179-BAD6-AD9CE30220B5}" srcOrd="0" destOrd="0" parTransId="{A9F97419-26F2-46BA-87B3-85B2B81851C0}" sibTransId="{56973378-0BED-49F2-85B6-BBCE2AFDE3D1}"/>
    <dgm:cxn modelId="{B3944A42-A7CE-4A41-A6DF-D4BD04C36C97}" type="presParOf" srcId="{A9976BEE-F4B6-4A70-9EB3-613F9DAD4C77}" destId="{B9D2EC70-1FA4-4775-8A6C-0C2FE6CD01BF}" srcOrd="0" destOrd="0" presId="urn:microsoft.com/office/officeart/2009/layout/CirclePictureHierarchy"/>
    <dgm:cxn modelId="{1C03ADAC-15A6-414B-94B8-94F9EEA42AC8}" type="presParOf" srcId="{B9D2EC70-1FA4-4775-8A6C-0C2FE6CD01BF}" destId="{A319D4D9-3E23-4986-9F5F-CA6A88D91CE9}" srcOrd="0" destOrd="0" presId="urn:microsoft.com/office/officeart/2009/layout/CirclePictureHierarchy"/>
    <dgm:cxn modelId="{7A2D8ABF-D84D-4728-ADD7-39CE8AD149F8}" type="presParOf" srcId="{A319D4D9-3E23-4986-9F5F-CA6A88D91CE9}" destId="{3C5C9F3D-19C9-496C-8DC1-D93D080CAE18}" srcOrd="0" destOrd="0" presId="urn:microsoft.com/office/officeart/2009/layout/CirclePictureHierarchy"/>
    <dgm:cxn modelId="{F92CCC8D-7B57-4510-8418-BBCF9895D983}" type="presParOf" srcId="{A319D4D9-3E23-4986-9F5F-CA6A88D91CE9}" destId="{ACCA75F0-185E-47A5-83DF-119AC25FAB5E}" srcOrd="1" destOrd="0" presId="urn:microsoft.com/office/officeart/2009/layout/CirclePictureHierarchy"/>
    <dgm:cxn modelId="{0C82F4DC-797B-449B-B3E5-5ED5E8D5E6BC}" type="presParOf" srcId="{B9D2EC70-1FA4-4775-8A6C-0C2FE6CD01BF}" destId="{B0BA1C9E-CE4E-419E-BF0E-A35848FBE38D}" srcOrd="1" destOrd="0" presId="urn:microsoft.com/office/officeart/2009/layout/CirclePictureHierarchy"/>
    <dgm:cxn modelId="{780B3328-9C4D-40D8-9C50-C75424F60C06}" type="presParOf" srcId="{A9976BEE-F4B6-4A70-9EB3-613F9DAD4C77}" destId="{E00B5F7E-9E81-4B1D-A610-87D2D84AD580}" srcOrd="1" destOrd="0" presId="urn:microsoft.com/office/officeart/2009/layout/CirclePictureHierarchy"/>
    <dgm:cxn modelId="{100A5DCF-44D1-40B9-A73E-60E2BECA6ECB}" type="presParOf" srcId="{E00B5F7E-9E81-4B1D-A610-87D2D84AD580}" destId="{E1C0A78B-9B76-4495-8716-FE3D18790215}" srcOrd="0" destOrd="0" presId="urn:microsoft.com/office/officeart/2009/layout/CirclePictureHierarchy"/>
    <dgm:cxn modelId="{0DCF34EA-A599-411A-BDA5-C7E65EAFC15A}" type="presParOf" srcId="{E1C0A78B-9B76-4495-8716-FE3D18790215}" destId="{0D62C892-9AE0-44DC-956C-215F4EC31A08}" srcOrd="0" destOrd="0" presId="urn:microsoft.com/office/officeart/2009/layout/CirclePictureHierarchy"/>
    <dgm:cxn modelId="{946B9B2A-1527-45EB-A9FD-6107C82D4571}" type="presParOf" srcId="{E1C0A78B-9B76-4495-8716-FE3D18790215}" destId="{CFD5690D-2BAD-4530-B19E-5D14F76D4066}" srcOrd="1" destOrd="0" presId="urn:microsoft.com/office/officeart/2009/layout/CirclePictureHierarchy"/>
    <dgm:cxn modelId="{8D459E40-7D57-4C11-9B02-657222DB73D8}" type="presParOf" srcId="{E00B5F7E-9E81-4B1D-A610-87D2D84AD580}" destId="{3F8DA397-17D6-4C0F-8DE3-9E81865EDDB3}" srcOrd="1" destOrd="0" presId="urn:microsoft.com/office/officeart/2009/layout/CirclePictureHierarchy"/>
    <dgm:cxn modelId="{E5DD7608-A23D-40F6-908D-1ABE50EB2D04}" type="presParOf" srcId="{A9976BEE-F4B6-4A70-9EB3-613F9DAD4C77}" destId="{F34974AF-99CE-49A6-978C-FD03A080FB8A}" srcOrd="2" destOrd="0" presId="urn:microsoft.com/office/officeart/2009/layout/CirclePictureHierarchy"/>
    <dgm:cxn modelId="{34EC84D1-7864-45A5-8124-3A3B7CB85371}" type="presParOf" srcId="{F34974AF-99CE-49A6-978C-FD03A080FB8A}" destId="{99D55D58-A7A0-4139-B247-1261462FE87E}" srcOrd="0" destOrd="0" presId="urn:microsoft.com/office/officeart/2009/layout/CirclePictureHierarchy"/>
    <dgm:cxn modelId="{A6563446-5C91-47BC-9E08-E204AE5B42DA}" type="presParOf" srcId="{99D55D58-A7A0-4139-B247-1261462FE87E}" destId="{A66F3B44-DB86-458A-A973-90D7EA0B3084}" srcOrd="0" destOrd="0" presId="urn:microsoft.com/office/officeart/2009/layout/CirclePictureHierarchy"/>
    <dgm:cxn modelId="{748E9377-D09D-4039-A2DE-EBFD68918CA2}" type="presParOf" srcId="{99D55D58-A7A0-4139-B247-1261462FE87E}" destId="{6CE7DDDE-16FB-4C48-A947-675F7CEBC23B}" srcOrd="1" destOrd="0" presId="urn:microsoft.com/office/officeart/2009/layout/CirclePictureHierarchy"/>
    <dgm:cxn modelId="{670D73B0-6CDC-43BF-AB1D-5DE3715E90B8}" type="presParOf" srcId="{F34974AF-99CE-49A6-978C-FD03A080FB8A}" destId="{1B09A88A-E612-4EF3-B6BB-CAD18246DF84}" srcOrd="1" destOrd="0" presId="urn:microsoft.com/office/officeart/2009/layout/CirclePictureHierarchy"/>
    <dgm:cxn modelId="{F45DB10F-5EEE-41E1-BBCD-F7BD0DAD1115}" type="presParOf" srcId="{A9976BEE-F4B6-4A70-9EB3-613F9DAD4C77}" destId="{FD047FC9-D2A3-491F-BC6C-AADDD5F5D6E5}" srcOrd="3" destOrd="0" presId="urn:microsoft.com/office/officeart/2009/layout/CirclePictureHierarchy"/>
    <dgm:cxn modelId="{26952597-949F-46EC-AE3B-1D9DCA5A20A0}" type="presParOf" srcId="{FD047FC9-D2A3-491F-BC6C-AADDD5F5D6E5}" destId="{63CBE970-2631-4ED5-805D-BCCA43A3546B}" srcOrd="0" destOrd="0" presId="urn:microsoft.com/office/officeart/2009/layout/CirclePictureHierarchy"/>
    <dgm:cxn modelId="{875D7B68-FAE2-4131-842D-56E3082B8D46}" type="presParOf" srcId="{63CBE970-2631-4ED5-805D-BCCA43A3546B}" destId="{7865373E-D8D5-41BD-97BC-D1436EBDC68C}" srcOrd="0" destOrd="0" presId="urn:microsoft.com/office/officeart/2009/layout/CirclePictureHierarchy"/>
    <dgm:cxn modelId="{C0E0BF24-3021-487C-A1CB-1F7C7447CA6E}" type="presParOf" srcId="{63CBE970-2631-4ED5-805D-BCCA43A3546B}" destId="{4B13D3C5-A19A-4ECE-90F2-FEBC6A56FB56}" srcOrd="1" destOrd="0" presId="urn:microsoft.com/office/officeart/2009/layout/CirclePictureHierarchy"/>
    <dgm:cxn modelId="{4ABADA43-561D-416A-BB91-D1D27AC14F95}" type="presParOf" srcId="{FD047FC9-D2A3-491F-BC6C-AADDD5F5D6E5}" destId="{477F085C-6157-4DE3-8705-7967518F1836}" srcOrd="1" destOrd="0" presId="urn:microsoft.com/office/officeart/2009/layout/CirclePictureHierarchy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C5C9F3D-19C9-496C-8DC1-D93D080CAE18}">
      <dsp:nvSpPr>
        <dsp:cNvPr id="0" name=""/>
        <dsp:cNvSpPr/>
      </dsp:nvSpPr>
      <dsp:spPr>
        <a:xfrm>
          <a:off x="2225" y="333513"/>
          <a:ext cx="706338" cy="706338"/>
        </a:xfrm>
        <a:prstGeom prst="ellipse">
          <a:avLst/>
        </a:prstGeom>
        <a:blipFill>
          <a:blip xmlns:r="http://schemas.openxmlformats.org/officeDocument/2006/relationships" r:embed="rId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CCA75F0-185E-47A5-83DF-119AC25FAB5E}">
      <dsp:nvSpPr>
        <dsp:cNvPr id="0" name=""/>
        <dsp:cNvSpPr/>
      </dsp:nvSpPr>
      <dsp:spPr>
        <a:xfrm>
          <a:off x="708564" y="331747"/>
          <a:ext cx="1059507" cy="7063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Kommunene som tjenesteyter</a:t>
          </a:r>
        </a:p>
      </dsp:txBody>
      <dsp:txXfrm>
        <a:off x="708564" y="331747"/>
        <a:ext cx="1059507" cy="706338"/>
      </dsp:txXfrm>
    </dsp:sp>
    <dsp:sp modelId="{0D62C892-9AE0-44DC-956C-215F4EC31A08}">
      <dsp:nvSpPr>
        <dsp:cNvPr id="0" name=""/>
        <dsp:cNvSpPr/>
      </dsp:nvSpPr>
      <dsp:spPr>
        <a:xfrm>
          <a:off x="1944656" y="333513"/>
          <a:ext cx="706338" cy="706338"/>
        </a:xfrm>
        <a:prstGeom prst="ellipse">
          <a:avLst/>
        </a:prstGeom>
        <a:blipFill>
          <a:blip xmlns:r="http://schemas.openxmlformats.org/officeDocument/2006/relationships"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FD5690D-2BAD-4530-B19E-5D14F76D4066}">
      <dsp:nvSpPr>
        <dsp:cNvPr id="0" name=""/>
        <dsp:cNvSpPr/>
      </dsp:nvSpPr>
      <dsp:spPr>
        <a:xfrm>
          <a:off x="2650994" y="331747"/>
          <a:ext cx="1059507" cy="7063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Kommunene som myndighetsutøver </a:t>
          </a:r>
        </a:p>
      </dsp:txBody>
      <dsp:txXfrm>
        <a:off x="2650994" y="331747"/>
        <a:ext cx="1059507" cy="706338"/>
      </dsp:txXfrm>
    </dsp:sp>
    <dsp:sp modelId="{A66F3B44-DB86-458A-A973-90D7EA0B3084}">
      <dsp:nvSpPr>
        <dsp:cNvPr id="0" name=""/>
        <dsp:cNvSpPr/>
      </dsp:nvSpPr>
      <dsp:spPr>
        <a:xfrm>
          <a:off x="3887086" y="333513"/>
          <a:ext cx="706338" cy="706338"/>
        </a:xfrm>
        <a:prstGeom prst="ellipse">
          <a:avLst/>
        </a:prstGeom>
        <a:blipFill>
          <a:blip xmlns:r="http://schemas.openxmlformats.org/officeDocument/2006/relationships"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CE7DDDE-16FB-4C48-A947-675F7CEBC23B}">
      <dsp:nvSpPr>
        <dsp:cNvPr id="0" name=""/>
        <dsp:cNvSpPr/>
      </dsp:nvSpPr>
      <dsp:spPr>
        <a:xfrm>
          <a:off x="4593424" y="331747"/>
          <a:ext cx="1059507" cy="7063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Kommunene som samfunnsutvikler</a:t>
          </a:r>
        </a:p>
      </dsp:txBody>
      <dsp:txXfrm>
        <a:off x="4593424" y="331747"/>
        <a:ext cx="1059507" cy="706338"/>
      </dsp:txXfrm>
    </dsp:sp>
    <dsp:sp modelId="{7865373E-D8D5-41BD-97BC-D1436EBDC68C}">
      <dsp:nvSpPr>
        <dsp:cNvPr id="0" name=""/>
        <dsp:cNvSpPr/>
      </dsp:nvSpPr>
      <dsp:spPr>
        <a:xfrm>
          <a:off x="5829516" y="333513"/>
          <a:ext cx="706338" cy="706338"/>
        </a:xfrm>
        <a:prstGeom prst="ellipse">
          <a:avLst/>
        </a:prstGeom>
        <a:blipFill>
          <a:blip xmlns:r="http://schemas.openxmlformats.org/officeDocument/2006/relationships"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4B13D3C5-A19A-4ECE-90F2-FEBC6A56FB56}">
      <dsp:nvSpPr>
        <dsp:cNvPr id="0" name=""/>
        <dsp:cNvSpPr/>
      </dsp:nvSpPr>
      <dsp:spPr>
        <a:xfrm>
          <a:off x="6535854" y="331747"/>
          <a:ext cx="1059507" cy="7063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l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Kommunene som demokratisk arena</a:t>
          </a:r>
        </a:p>
      </dsp:txBody>
      <dsp:txXfrm>
        <a:off x="6535854" y="331747"/>
        <a:ext cx="1059507" cy="70633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PictureHierarchy">
  <dgm:title val=""/>
  <dgm:desc val=""/>
  <dgm:catLst>
    <dgm:cat type="hierarchy" pri="1750"/>
    <dgm:cat type="picture" pri="23000"/>
    <dgm:cat type="pictureconvert" pri="2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hierChild1">
    <dgm:varLst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ptType="node" op="equ" val="65"/>
      <dgm:constr type="w" for="des" forName="composite" refType="w"/>
      <dgm:constr type="h" for="des" forName="composite" refType="w" refFor="des" refForName="composite" fact="0.5"/>
      <dgm:constr type="w" for="des" forName="composite2" refType="w" refFor="des" refForName="composite"/>
      <dgm:constr type="h" for="des" forName="composite2" refType="h" refFor="des" refForName="composite"/>
      <dgm:constr type="w" for="des" forName="composite3" refType="w" refFor="des" refForName="composite"/>
      <dgm:constr type="h" for="des" forName="composite3" refType="h" refFor="des" refForName="composite"/>
      <dgm:constr type="w" for="des" forName="composite4" refType="w" refFor="des" refForName="composite"/>
      <dgm:constr type="h" for="des" forName="composite4" refType="h" refFor="des" refForName="composite"/>
      <dgm:constr type="w" for="des" forName="composite5" refType="w" refFor="des" refForName="composite"/>
      <dgm:constr type="h" for="des" forName="composite5" refType="h" refFor="des" refForName="composite"/>
      <dgm:constr type="sibSp" refType="w" refFor="des" refForName="composite" fact="0.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p" for="des" forName="hierRoot1" refType="h" refFor="des" refForName="composite" fact="0.25"/>
      <dgm:constr type="sp" for="des" forName="hierRoot2" refType="sp" refFor="des" refForName="hierRoot1"/>
      <dgm:constr type="sp" for="des" forName="hierRoot3" refType="sp" refFor="des" refForName="hierRoot1"/>
      <dgm:constr type="sp" for="des" forName="hierRoot4" refType="sp" refFor="des" refForName="hierRoot1"/>
      <dgm:constr type="sp" for="des" forName="hierRoot5" refType="sp" refFor="des" refForName="hierRoot1"/>
    </dgm:constrLst>
    <dgm:ruleLst/>
    <dgm:forEach name="Name3" axis="ch">
      <dgm:forEach name="Name4" axis="self" ptType="node">
        <dgm:layoutNode name="hierRoot1">
          <dgm:alg type="hierRoot"/>
          <dgm:shape xmlns:r="http://schemas.openxmlformats.org/officeDocument/2006/relationships" r:blip="">
            <dgm:adjLst/>
          </dgm:shape>
          <dgm:presOf/>
          <dgm:constrLst>
            <dgm:constr type="bendDist" for="des" ptType="parTrans" refType="sp" fact="0.5"/>
          </dgm:constrLst>
          <dgm:ruleLst/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onstrLst>
              <dgm:constr type="h" for="ch" forName="image" refType="h" fact="0.8"/>
              <dgm:constr type="w" for="ch" forName="image" refType="h" refFor="ch" refForName="image"/>
              <dgm:constr type="t" for="ch" forName="image" refType="h" fact="0.1"/>
              <dgm:constr type="l" for="ch" forName="image"/>
              <dgm:constr type="w" for="ch" forName="text" refType="w" fact="0.6"/>
              <dgm:constr type="h" for="ch" forName="text" refType="h" fact="0.8"/>
              <dgm:constr type="t" for="ch" forName="text" refType="w" fact="0.04"/>
              <dgm:constr type="l" for="ch" forName="text" refType="w" fact="0.4"/>
            </dgm:constrLst>
            <dgm:ruleLst/>
            <dgm:layoutNode name="image" styleLbl="node0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  <dgm:layoutNode name="text" styleLbl="revTx">
              <dgm:varLst>
                <dgm:chPref val="3"/>
              </dgm:varLst>
              <dgm:alg type="tx">
                <dgm:param type="parTxLTRAlign" val="l"/>
                <dgm:param type="parTxRTLAlign" val="r"/>
              </dgm:alg>
              <dgm:shape xmlns:r="http://schemas.openxmlformats.org/officeDocument/2006/relationships" type="rect" r:blip="">
                <dgm:adjLst/>
              </dgm:shape>
              <dgm:presOf axis="self"/>
              <dgm:constrLst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</dgm:layoutNode>
          <dgm:layoutNode name="hierChild2">
            <dgm:choose name="Name5">
              <dgm:if name="Name6" func="var" arg="dir" op="equ" val="norm">
                <dgm:alg type="hierChild">
                  <dgm:param type="linDir" val="fromL"/>
                </dgm:alg>
              </dgm:if>
              <dgm:else name="Name7">
                <dgm:alg type="hierChild">
                  <dgm:param type="linDir" val="from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8" axis="ch">
              <dgm:forEach name="Name9" axis="self" ptType="parTrans" cnt="1">
                <dgm:layoutNode name="Name10">
                  <dgm:alg type="conn">
                    <dgm:param type="dim" val="1D"/>
                    <dgm:param type="endSty" val="noArr"/>
                    <dgm:param type="connRout" val="bend"/>
                    <dgm:param type="bendPt" val="end"/>
                    <dgm:param type="begPts" val="bCtr"/>
                    <dgm:param type="endPts" val="tCtr"/>
                    <dgm:param type="srcNode" val="image"/>
                    <dgm:param type="dstNode" val="image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forEach name="Name11" axis="self" ptType="node">
                <dgm:layoutNode name="hierRoot2">
                  <dgm:alg type="hierRoot"/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bendDist" for="des" ptType="parTrans" refType="sp" fact="0.5"/>
                  </dgm:constrLst>
                  <dgm:ruleLst/>
                  <dgm:layoutNode name="composite2">
                    <dgm:alg type="composite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h" for="ch" forName="image2" refType="h" fact="0.8"/>
                      <dgm:constr type="w" for="ch" forName="image2" refType="h" refFor="ch" refForName="image2"/>
                      <dgm:constr type="t" for="ch" forName="image2" refType="h" fact="0.1"/>
                      <dgm:constr type="l" for="ch" forName="image2"/>
                      <dgm:constr type="w" for="ch" forName="text2" refType="w" fact="0.6"/>
                      <dgm:constr type="h" for="ch" forName="text2" refType="h" fact="0.8"/>
                      <dgm:constr type="t" for="ch" forName="text2" refType="w" fact="0.04"/>
                      <dgm:constr type="l" for="ch" forName="text2" refType="w" fact="0.4"/>
                    </dgm:constrLst>
                    <dgm:ruleLst/>
                    <dgm:layoutNode name="image2">
                      <dgm:alg type="sp"/>
                      <dgm:shape xmlns:r="http://schemas.openxmlformats.org/officeDocument/2006/relationships" type="ellipse" r:blip="" blipPhldr="1">
                        <dgm:adjLst/>
                      </dgm:shape>
                      <dgm:presOf/>
                      <dgm:constrLst/>
                      <dgm:ruleLst/>
                    </dgm:layoutNode>
                    <dgm:layoutNode name="text2" styleLbl="revTx">
                      <dgm:varLst>
                        <dgm:chPref val="3"/>
                      </dgm:varLst>
                      <dgm:alg type="tx">
                        <dgm:param type="parTxLTRAlign" val="l"/>
                        <dgm:param type="parTxRTLAlign" val="r"/>
                      </dgm:alg>
                      <dgm:shape xmlns:r="http://schemas.openxmlformats.org/officeDocument/2006/relationships" type="rect" r:blip="">
                        <dgm:adjLst/>
                      </dgm:shape>
                      <dgm:presOf axis="self"/>
                      <dgm:constrLst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layoutNode>
                  <dgm:layoutNode name="hierChild3">
                    <dgm:choose name="Name12">
                      <dgm:if name="Name13" func="var" arg="dir" op="equ" val="norm">
                        <dgm:alg type="hierChild">
                          <dgm:param type="linDir" val="fromL"/>
                        </dgm:alg>
                      </dgm:if>
                      <dgm:else name="Name14">
                        <dgm:alg type="hierChild">
                          <dgm:param type="linDir" val="from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15" axis="ch">
                      <dgm:forEach name="Name16" axis="self" ptType="parTrans" cnt="1">
                        <dgm:layoutNode name="Name17">
                          <dgm:alg type="conn">
                            <dgm:param type="dim" val="1D"/>
                            <dgm:param type="endSty" val="noArr"/>
                            <dgm:param type="connRout" val="bend"/>
                            <dgm:param type="bendPt" val="end"/>
                            <dgm:param type="begPts" val="bCtr"/>
                            <dgm:param type="endPts" val="tCtr"/>
                            <dgm:param type="srcNode" val="image2"/>
                            <dgm:param type="dstNode" val="image3"/>
                          </dgm:alg>
                          <dgm:shape xmlns:r="http://schemas.openxmlformats.org/officeDocument/2006/relationships" type="conn" r:blip="" zOrderOff="-999">
                            <dgm:adjLst/>
                          </dgm:shape>
                          <dgm:presOf axis="self"/>
                          <dgm:constrLst>
                            <dgm:constr type="begPad"/>
                            <dgm:constr type="endPad"/>
                          </dgm:constrLst>
                          <dgm:ruleLst/>
                        </dgm:layoutNode>
                      </dgm:forEach>
                      <dgm:forEach name="Name18" axis="self" ptType="node">
                        <dgm:layoutNode name="hierRoot3">
                          <dgm:alg type="hierRoot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bendDist" for="des" ptType="parTrans" refType="sp" fact="0.5"/>
                          </dgm:constrLst>
                          <dgm:ruleLst/>
                          <dgm:layoutNode name="composite3">
                            <dgm:alg type="composite"/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h" for="ch" forName="image3" refType="h" fact="0.8"/>
                              <dgm:constr type="w" for="ch" forName="image3" refType="h" refFor="ch" refForName="image3"/>
                              <dgm:constr type="t" for="ch" forName="image3" refType="h" fact="0.1"/>
                              <dgm:constr type="l" for="ch" forName="image3"/>
                              <dgm:constr type="w" for="ch" forName="text3" refType="w" fact="0.6"/>
                              <dgm:constr type="h" for="ch" forName="text3" refType="h" fact="0.8"/>
                              <dgm:constr type="t" for="ch" forName="text3" refType="w" fact="0.04"/>
                              <dgm:constr type="l" for="ch" forName="text3" refType="w" fact="0.4"/>
                            </dgm:constrLst>
                            <dgm:ruleLst/>
                            <dgm:layoutNode name="image3">
                              <dgm:alg type="sp"/>
                              <dgm:shape xmlns:r="http://schemas.openxmlformats.org/officeDocument/2006/relationships" type="ellipse" r:blip="" blipPhldr="1">
                                <dgm:adjLst/>
                              </dgm:shape>
                              <dgm:presOf/>
                              <dgm:constrLst/>
                              <dgm:ruleLst/>
                            </dgm:layoutNode>
                            <dgm:layoutNode name="text3" styleLbl="revTx">
                              <dgm:varLst>
                                <dgm:chPref val="3"/>
                              </dgm:varLst>
                              <dgm:alg type="tx">
                                <dgm:param type="parTxLTRAlign" val="l"/>
                                <dgm:param type="parTxRTLAlign" val="r"/>
                              </dgm:alg>
                              <dgm:shape xmlns:r="http://schemas.openxmlformats.org/officeDocument/2006/relationships" type="rect" r:blip="">
                                <dgm:adjLst/>
                              </dgm:shape>
                              <dgm:presOf axis="self"/>
                              <dgm:constrLst>
                                <dgm:constr type="tMarg" refType="primFontSz" fact="0.3"/>
                                <dgm:constr type="bMarg" refType="primFontSz" fact="0.3"/>
                                <dgm:constr type="lMarg" refType="primFontSz" fact="0.3"/>
                                <dgm:constr type="rMarg" refType="primFontSz" fact="0.3"/>
                              </dgm:constrLst>
                              <dgm:ruleLst>
                                <dgm:rule type="primFontSz" val="5" fact="NaN" max="NaN"/>
                              </dgm:ruleLst>
                            </dgm:layoutNode>
                          </dgm:layoutNode>
                          <dgm:layoutNode name="hierChild4">
                            <dgm:choose name="Name19">
                              <dgm:if name="Name20" func="var" arg="dir" op="equ" val="norm">
                                <dgm:alg type="hierChild">
                                  <dgm:param type="linDir" val="fromL"/>
                                </dgm:alg>
                              </dgm:if>
                              <dgm:else name="Name21">
                                <dgm:alg type="hierChild">
                                  <dgm:param type="linDir" val="fromR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/>
                            <dgm:forEach name="repeat" axis="ch">
                              <dgm:forEach name="Name22" axis="self" ptType="parTrans" cnt="1">
                                <dgm:layoutNode name="Name23">
                                  <dgm:choose name="Name24">
                                    <dgm:if name="Name25" axis="self" func="depth" op="lte" val="4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3"/>
                                        <dgm:param type="dstNode" val="image4"/>
                                      </dgm:alg>
                                    </dgm:if>
                                    <dgm:else name="Name26">
                                      <dgm:alg type="conn">
                                        <dgm:param type="dim" val="1D"/>
                                        <dgm:param type="endSty" val="noArr"/>
                                        <dgm:param type="connRout" val="bend"/>
                                        <dgm:param type="bendPt" val="end"/>
                                        <dgm:param type="begPts" val="bCtr"/>
                                        <dgm:param type="endPts" val="tCtr"/>
                                        <dgm:param type="srcNode" val="image4"/>
                                        <dgm:param type="dstNode" val="image4"/>
                                      </dgm:alg>
                                    </dgm:else>
                                  </dgm:choose>
                                  <dgm:shape xmlns:r="http://schemas.openxmlformats.org/officeDocument/2006/relationships" type="conn" r:blip="" zOrderOff="-999">
                                    <dgm:adjLst/>
                                  </dgm:shape>
                                  <dgm:presOf axis="self"/>
                                  <dgm:constrLst>
                                    <dgm:constr type="begPad"/>
                                    <dgm:constr type="endPad"/>
                                  </dgm:constrLst>
                                  <dgm:ruleLst/>
                                </dgm:layoutNode>
                              </dgm:forEach>
                              <dgm:forEach name="Name27" axis="self" ptType="node">
                                <dgm:layoutNode name="hierRoot4">
                                  <dgm:alg type="hierRoot"/>
                                  <dgm:shape xmlns:r="http://schemas.openxmlformats.org/officeDocument/2006/relationships" r:blip="">
                                    <dgm:adjLst/>
                                  </dgm:shape>
                                  <dgm:presOf/>
                                  <dgm:constrLst>
                                    <dgm:constr type="bendDist" for="des" ptType="parTrans" refType="sp" fact="0.5"/>
                                  </dgm:constrLst>
                                  <dgm:ruleLst/>
                                  <dgm:layoutNode name="composite4">
                                    <dgm:alg type="composite"/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>
                                      <dgm:constr type="h" for="ch" forName="image4" refType="h" fact="0.8"/>
                                      <dgm:constr type="w" for="ch" forName="image4" refType="h" refFor="ch" refForName="image4"/>
                                      <dgm:constr type="t" for="ch" forName="image4" refType="h" fact="0.1"/>
                                      <dgm:constr type="l" for="ch" forName="image4"/>
                                      <dgm:constr type="w" for="ch" forName="text4" refType="w" fact="0.6"/>
                                      <dgm:constr type="h" for="ch" forName="text4" refType="h" fact="0.8"/>
                                      <dgm:constr type="t" for="ch" forName="text4" refType="w" fact="0.04"/>
                                      <dgm:constr type="l" for="ch" forName="text4" refType="w" fact="0.4"/>
                                    </dgm:constrLst>
                                    <dgm:ruleLst/>
                                    <dgm:layoutNode name="image4">
                                      <dgm:alg type="sp"/>
                                      <dgm:shape xmlns:r="http://schemas.openxmlformats.org/officeDocument/2006/relationships" type="ellipse" r:blip="" blipPhldr="1">
                                        <dgm:adjLst/>
                                      </dgm:shape>
                                      <dgm:presOf/>
                                      <dgm:constrLst/>
                                      <dgm:ruleLst/>
                                    </dgm:layoutNode>
                                    <dgm:layoutNode name="text4" styleLbl="revTx">
                                      <dgm:varLst>
                                        <dgm:chPref val="3"/>
                                      </dgm:varLst>
                                      <dgm:alg type="tx">
                                        <dgm:param type="parTxLTRAlign" val="l"/>
                                        <dgm:param type="parTxRTLAlign" val="r"/>
                                      </dgm:alg>
                                      <dgm:shape xmlns:r="http://schemas.openxmlformats.org/officeDocument/2006/relationships" type="rect" r:blip="">
                                        <dgm:adjLst/>
                                      </dgm:shape>
                                      <dgm:presOf axis="self"/>
                                      <dgm:constrLst>
                                        <dgm:constr type="tMarg" refType="primFontSz" fact="0.3"/>
                                        <dgm:constr type="bMarg" refType="primFontSz" fact="0.3"/>
                                        <dgm:constr type="lMarg" refType="primFontSz" fact="0.3"/>
                                        <dgm:constr type="rMarg" refType="primFontSz" fact="0.3"/>
                                      </dgm:constrLst>
                                      <dgm:ruleLst>
                                        <dgm:rule type="primFontSz" val="5" fact="NaN" max="NaN"/>
                                      </dgm:ruleLst>
                                    </dgm:layoutNode>
                                  </dgm:layoutNode>
                                  <dgm:layoutNode name="hierChild5">
                                    <dgm:choose name="Name28">
                                      <dgm:if name="Name29" func="var" arg="dir" op="equ" val="norm">
                                        <dgm:alg type="hierChild">
                                          <dgm:param type="linDir" val="fromL"/>
                                        </dgm:alg>
                                      </dgm:if>
                                      <dgm:else name="Name30">
                                        <dgm:alg type="hierChild">
                                          <dgm:param type="linDir" val="fromR"/>
                                        </dgm:alg>
                                      </dgm:else>
                                    </dgm:choose>
                                    <dgm:shape xmlns:r="http://schemas.openxmlformats.org/officeDocument/2006/relationships" r:blip="">
                                      <dgm:adjLst/>
                                    </dgm:shape>
                                    <dgm:presOf/>
                                    <dgm:constrLst/>
                                    <dgm:ruleLst/>
                                    <dgm:forEach name="Name31" ref="repeat"/>
                                  </dgm:layoutNode>
                                </dgm:layoutNode>
                              </dgm:forEach>
                            </dgm:forEach>
                          </dgm:layoutNode>
                        </dgm:layoutNode>
                      </dgm:forEach>
                    </dgm:forEach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59B2A5-E7C6-470D-BFB2-4CBC4920C122}" type="datetimeFigureOut">
              <a:rPr lang="nb-NO" smtClean="0"/>
              <a:t>15.11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620AD48-1C5D-458A-BEB5-921A6596ED4D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2154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/>
              <a:t>Følsomhetsanalyser: fjerne bør-krav, absolutt tolkning av lovkrav og tidskonsistens</a:t>
            </a:r>
          </a:p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20AD48-1C5D-458A-BEB5-921A6596ED4D}" type="slidenum">
              <a:rPr lang="nb-NO" smtClean="0"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750212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20AD48-1C5D-458A-BEB5-921A6596ED4D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74931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99" y="247275"/>
            <a:ext cx="8914814" cy="4794625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716" b="44674"/>
          <a:stretch/>
        </p:blipFill>
        <p:spPr>
          <a:xfrm>
            <a:off x="125999" y="1455738"/>
            <a:ext cx="8914814" cy="1174250"/>
          </a:xfrm>
          <a:prstGeom prst="rect">
            <a:avLst/>
          </a:prstGeom>
        </p:spPr>
      </p:pic>
      <p:sp>
        <p:nvSpPr>
          <p:cNvPr id="6" name="Tittel 5"/>
          <p:cNvSpPr>
            <a:spLocks noGrp="1"/>
          </p:cNvSpPr>
          <p:nvPr>
            <p:ph type="title"/>
          </p:nvPr>
        </p:nvSpPr>
        <p:spPr>
          <a:xfrm>
            <a:off x="349648" y="2383437"/>
            <a:ext cx="8419598" cy="440909"/>
          </a:xfrm>
          <a:prstGeom prst="rect">
            <a:avLst/>
          </a:prstGeom>
        </p:spPr>
        <p:txBody>
          <a:bodyPr/>
          <a:lstStyle>
            <a:lvl1pPr algn="ctr">
              <a:defRPr b="0" i="0" cap="all" spc="150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10"/>
          </p:nvPr>
        </p:nvSpPr>
        <p:spPr>
          <a:xfrm>
            <a:off x="1625029" y="3024265"/>
            <a:ext cx="5868591" cy="1175069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buFontTx/>
              <a:buNone/>
              <a:defRPr b="0" spc="23" baseline="0">
                <a:solidFill>
                  <a:schemeClr val="bg1"/>
                </a:solidFill>
              </a:defRPr>
            </a:lvl1pPr>
            <a:lvl2pPr marL="2381" indent="0" algn="ctr">
              <a:lnSpc>
                <a:spcPct val="100000"/>
              </a:lnSpc>
              <a:spcBef>
                <a:spcPts val="1875"/>
              </a:spcBef>
              <a:buFontTx/>
              <a:buNone/>
              <a:tabLst/>
              <a:defRPr sz="900">
                <a:solidFill>
                  <a:schemeClr val="bg1"/>
                </a:solidFill>
              </a:defRPr>
            </a:lvl2pPr>
            <a:lvl3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3pPr>
            <a:lvl4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4pPr>
            <a:lvl5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</p:txBody>
      </p:sp>
    </p:spTree>
    <p:extLst>
      <p:ext uri="{BB962C8B-B14F-4D97-AF65-F5344CB8AC3E}">
        <p14:creationId xmlns:p14="http://schemas.microsoft.com/office/powerpoint/2010/main" val="1075057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519" y="735014"/>
            <a:ext cx="3969544" cy="39965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9479" y="735014"/>
            <a:ext cx="3969544" cy="399653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51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947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467918" y="735014"/>
            <a:ext cx="3969146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5" y="735013"/>
            <a:ext cx="3970338" cy="612775"/>
          </a:xfrm>
          <a:prstGeom prst="rect">
            <a:avLst/>
          </a:prstGeom>
        </p:spPr>
        <p:txBody>
          <a:bodyPr anchor="b" anchorCtr="0">
            <a:normAutofit/>
          </a:bodyPr>
          <a:lstStyle>
            <a:lvl1pPr marL="0" indent="0">
              <a:buNone/>
              <a:defRPr sz="2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nb-NO" err="1"/>
              <a:t>Headlin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98134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tt linje 8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4900" y="1455738"/>
            <a:ext cx="3969544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7256" y="1455738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6" name="Bild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7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19" name="Plassholder for innhold 6"/>
          <p:cNvSpPr>
            <a:spLocks noGrp="1"/>
          </p:cNvSpPr>
          <p:nvPr>
            <p:ph sz="quarter" idx="19" hasCustomPrompt="1"/>
          </p:nvPr>
        </p:nvSpPr>
        <p:spPr>
          <a:xfrm>
            <a:off x="4717256" y="3224649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7726741" y="1455738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2" hasCustomPrompt="1"/>
          </p:nvPr>
        </p:nvSpPr>
        <p:spPr>
          <a:xfrm>
            <a:off x="7725947" y="3224649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9505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471">
          <p15:clr>
            <a:srgbClr val="FBAE40"/>
          </p15:clr>
        </p15:guide>
        <p15:guide id="6" pos="295">
          <p15:clr>
            <a:srgbClr val="FBAE40"/>
          </p15:clr>
        </p15:guide>
        <p15:guide id="7" orient="horz" pos="298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Rett linje 8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0176" y="1455738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6" name="Bilde 1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7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19" name="Plassholder for innhold 6"/>
          <p:cNvSpPr>
            <a:spLocks noGrp="1"/>
          </p:cNvSpPr>
          <p:nvPr>
            <p:ph sz="quarter" idx="19" hasCustomPrompt="1"/>
          </p:nvPr>
        </p:nvSpPr>
        <p:spPr>
          <a:xfrm>
            <a:off x="470176" y="3224649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1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3479661" y="1455738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2" hasCustomPrompt="1"/>
          </p:nvPr>
        </p:nvSpPr>
        <p:spPr>
          <a:xfrm>
            <a:off x="3478867" y="3224649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8" name="Plassholder for innhold 6"/>
          <p:cNvSpPr>
            <a:spLocks noGrp="1"/>
          </p:cNvSpPr>
          <p:nvPr>
            <p:ph sz="quarter" idx="23" hasCustomPrompt="1"/>
          </p:nvPr>
        </p:nvSpPr>
        <p:spPr>
          <a:xfrm>
            <a:off x="4718843" y="1455738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9" name="Plassholder for innhold 6"/>
          <p:cNvSpPr>
            <a:spLocks noGrp="1"/>
          </p:cNvSpPr>
          <p:nvPr>
            <p:ph sz="quarter" idx="24" hasCustomPrompt="1"/>
          </p:nvPr>
        </p:nvSpPr>
        <p:spPr>
          <a:xfrm>
            <a:off x="4718843" y="3224649"/>
            <a:ext cx="2891334" cy="150689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30" name="Plassholder for tekst 15"/>
          <p:cNvSpPr>
            <a:spLocks noGrp="1"/>
          </p:cNvSpPr>
          <p:nvPr>
            <p:ph type="body" sz="quarter" idx="25" hasCustomPrompt="1"/>
          </p:nvPr>
        </p:nvSpPr>
        <p:spPr>
          <a:xfrm>
            <a:off x="7727534" y="1455737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32" name="Plassholder for tekst 15"/>
          <p:cNvSpPr>
            <a:spLocks noGrp="1"/>
          </p:cNvSpPr>
          <p:nvPr>
            <p:ph type="body" sz="quarter" idx="27" hasCustomPrompt="1"/>
          </p:nvPr>
        </p:nvSpPr>
        <p:spPr>
          <a:xfrm>
            <a:off x="7727534" y="3224649"/>
            <a:ext cx="958472" cy="150689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190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5" pos="5471">
          <p15:clr>
            <a:srgbClr val="FBAE40"/>
          </p15:clr>
        </p15:guide>
        <p15:guide id="6" pos="295">
          <p15:clr>
            <a:srgbClr val="FBAE40"/>
          </p15:clr>
        </p15:guide>
        <p15:guide id="7" orient="horz" pos="298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Rett linje 13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Plassholder for innhold 6"/>
          <p:cNvSpPr>
            <a:spLocks noGrp="1"/>
          </p:cNvSpPr>
          <p:nvPr>
            <p:ph sz="quarter" idx="18"/>
          </p:nvPr>
        </p:nvSpPr>
        <p:spPr>
          <a:xfrm>
            <a:off x="467696" y="1455738"/>
            <a:ext cx="2713968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1" name="Plassholder for innhold 6"/>
          <p:cNvSpPr>
            <a:spLocks noGrp="1"/>
          </p:cNvSpPr>
          <p:nvPr>
            <p:ph sz="quarter" idx="19"/>
          </p:nvPr>
        </p:nvSpPr>
        <p:spPr>
          <a:xfrm>
            <a:off x="3439716" y="1995688"/>
            <a:ext cx="5245497" cy="2735857"/>
          </a:xfrm>
          <a:prstGeom prst="rect">
            <a:avLst/>
          </a:prstGeom>
        </p:spPr>
        <p:txBody>
          <a:bodyPr r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5" name="Bilde 1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7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22" name="Plassholder for tekst 15"/>
          <p:cNvSpPr>
            <a:spLocks noGrp="1"/>
          </p:cNvSpPr>
          <p:nvPr>
            <p:ph type="body" sz="quarter" idx="26" hasCustomPrompt="1"/>
          </p:nvPr>
        </p:nvSpPr>
        <p:spPr>
          <a:xfrm>
            <a:off x="3439716" y="1455738"/>
            <a:ext cx="3968751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34967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695" y="1455738"/>
            <a:ext cx="2713968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3440243" y="1455738"/>
            <a:ext cx="5244970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2177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695" y="1455738"/>
            <a:ext cx="2713968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3440242" y="1455738"/>
            <a:ext cx="4168348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3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19" name="Plassholder for tekst 15"/>
          <p:cNvSpPr>
            <a:spLocks noGrp="1"/>
          </p:cNvSpPr>
          <p:nvPr>
            <p:ph type="body" sz="quarter" idx="21" hasCustomPrompt="1"/>
          </p:nvPr>
        </p:nvSpPr>
        <p:spPr>
          <a:xfrm>
            <a:off x="7726741" y="1455738"/>
            <a:ext cx="958472" cy="32758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5885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695" y="1455738"/>
            <a:ext cx="5412197" cy="3275806"/>
          </a:xfrm>
          <a:prstGeom prst="rect">
            <a:avLst/>
          </a:prstGeom>
        </p:spPr>
        <p:txBody>
          <a:bodyPr/>
          <a:lstStyle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6138472" y="2147013"/>
            <a:ext cx="2548328" cy="258453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8" name="Bilde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5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19" name="Plassholder for tekst 15"/>
          <p:cNvSpPr>
            <a:spLocks noGrp="1"/>
          </p:cNvSpPr>
          <p:nvPr>
            <p:ph type="body" sz="quarter" idx="19" hasCustomPrompt="1"/>
          </p:nvPr>
        </p:nvSpPr>
        <p:spPr>
          <a:xfrm>
            <a:off x="6138471" y="1455738"/>
            <a:ext cx="2545947" cy="583326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9281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innhold 6"/>
          <p:cNvSpPr>
            <a:spLocks noGrp="1"/>
          </p:cNvSpPr>
          <p:nvPr>
            <p:ph sz="quarter" idx="19"/>
          </p:nvPr>
        </p:nvSpPr>
        <p:spPr>
          <a:xfrm>
            <a:off x="4717799" y="1995686"/>
            <a:ext cx="3969544" cy="273585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13" name="Rett linje 12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4717799" y="1455737"/>
            <a:ext cx="3966620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20" name="Plassholder for innhold 6"/>
          <p:cNvSpPr>
            <a:spLocks noGrp="1"/>
          </p:cNvSpPr>
          <p:nvPr>
            <p:ph sz="quarter" idx="18"/>
          </p:nvPr>
        </p:nvSpPr>
        <p:spPr>
          <a:xfrm>
            <a:off x="467519" y="1455739"/>
            <a:ext cx="3969544" cy="327580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2" name="Bilde 2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1380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Plassholder for innhold 6"/>
          <p:cNvSpPr>
            <a:spLocks noGrp="1"/>
          </p:cNvSpPr>
          <p:nvPr>
            <p:ph sz="quarter" idx="19"/>
          </p:nvPr>
        </p:nvSpPr>
        <p:spPr>
          <a:xfrm>
            <a:off x="467519" y="1996482"/>
            <a:ext cx="3969544" cy="27358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0" name="Plassholder for innhold 6"/>
          <p:cNvSpPr>
            <a:spLocks noGrp="1"/>
          </p:cNvSpPr>
          <p:nvPr>
            <p:ph sz="quarter" idx="20"/>
          </p:nvPr>
        </p:nvSpPr>
        <p:spPr>
          <a:xfrm>
            <a:off x="4718049" y="1996482"/>
            <a:ext cx="3968751" cy="273585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3" name="Bilde 2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2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15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467519" y="1455617"/>
            <a:ext cx="3961209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16" name="Plassholder for tekst 15"/>
          <p:cNvSpPr>
            <a:spLocks noGrp="1"/>
          </p:cNvSpPr>
          <p:nvPr>
            <p:ph type="body" sz="quarter" idx="26" hasCustomPrompt="1"/>
          </p:nvPr>
        </p:nvSpPr>
        <p:spPr>
          <a:xfrm>
            <a:off x="4718049" y="1455617"/>
            <a:ext cx="3968751" cy="432000"/>
          </a:xfrm>
          <a:prstGeom prst="rect">
            <a:avLst/>
          </a:prstGeom>
        </p:spPr>
        <p:txBody>
          <a:bodyPr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48561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1831" b="1"/>
          <a:stretch/>
        </p:blipFill>
        <p:spPr>
          <a:xfrm>
            <a:off x="125999" y="4650237"/>
            <a:ext cx="8914814" cy="391664"/>
          </a:xfrm>
          <a:prstGeom prst="rect">
            <a:avLst/>
          </a:prstGeom>
        </p:spPr>
      </p:pic>
      <p:sp>
        <p:nvSpPr>
          <p:cNvPr id="12" name="Plassholder for tekst 15"/>
          <p:cNvSpPr>
            <a:spLocks noGrp="1"/>
          </p:cNvSpPr>
          <p:nvPr>
            <p:ph type="body" sz="quarter" idx="10" hasCustomPrompt="1"/>
          </p:nvPr>
        </p:nvSpPr>
        <p:spPr>
          <a:xfrm>
            <a:off x="118048" y="4650236"/>
            <a:ext cx="5868591" cy="394341"/>
          </a:xfrm>
          <a:prstGeom prst="rect">
            <a:avLst/>
          </a:prstGeom>
        </p:spPr>
        <p:txBody>
          <a:bodyPr wrap="none" lIns="108000" tIns="72000" anchor="t" anchorCtr="0">
            <a:noAutofit/>
          </a:bodyPr>
          <a:lstStyle>
            <a:lvl1pPr marL="0" indent="0" algn="l">
              <a:buNone/>
              <a:defRPr sz="1100" b="0" cap="all" spc="150" baseline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750" baseline="0">
                <a:solidFill>
                  <a:schemeClr val="bg1"/>
                </a:solidFill>
              </a:defRPr>
            </a:lvl2pPr>
            <a:lvl3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3pPr>
            <a:lvl4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4pPr>
            <a:lvl5pPr marL="2381" indent="0" algn="ctr">
              <a:buFontTx/>
              <a:buNone/>
              <a:tabLst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Sett inn tittel</a:t>
            </a:r>
          </a:p>
          <a:p>
            <a:pPr lvl="1"/>
            <a:r>
              <a:rPr lang="nb-NO"/>
              <a:t>Sett inn navn, dato etc.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726"/>
          <a:stretch/>
        </p:blipFill>
        <p:spPr>
          <a:xfrm>
            <a:off x="125999" y="247275"/>
            <a:ext cx="8914814" cy="924113"/>
          </a:xfrm>
          <a:prstGeom prst="rect">
            <a:avLst/>
          </a:prstGeom>
        </p:spPr>
      </p:pic>
      <p:sp>
        <p:nvSpPr>
          <p:cNvPr id="6" name="Plassholder for bilde 18"/>
          <p:cNvSpPr>
            <a:spLocks noGrp="1"/>
          </p:cNvSpPr>
          <p:nvPr>
            <p:ph type="pic" sz="quarter" idx="15" hasCustomPrompt="1"/>
          </p:nvPr>
        </p:nvSpPr>
        <p:spPr>
          <a:xfrm>
            <a:off x="126000" y="1455739"/>
            <a:ext cx="8914814" cy="3145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08253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Plassholder for tekst 6"/>
          <p:cNvSpPr>
            <a:spLocks noGrp="1"/>
          </p:cNvSpPr>
          <p:nvPr>
            <p:ph type="body" sz="quarter" idx="16" hasCustomPrompt="1"/>
          </p:nvPr>
        </p:nvSpPr>
        <p:spPr>
          <a:xfrm>
            <a:off x="963266" y="735014"/>
            <a:ext cx="7217467" cy="3997324"/>
          </a:xfrm>
          <a:prstGeom prst="rect">
            <a:avLst/>
          </a:prstGeom>
        </p:spPr>
        <p:txBody>
          <a:bodyPr anchor="ctr" anchorCtr="0">
            <a:normAutofit/>
          </a:bodyPr>
          <a:lstStyle>
            <a:lvl1pPr marL="0" indent="0" algn="ctr">
              <a:buFontTx/>
              <a:buNone/>
              <a:tabLst/>
              <a:defRPr sz="3600" b="1" baseline="0">
                <a:solidFill>
                  <a:schemeClr val="accent1"/>
                </a:solidFill>
              </a:defRPr>
            </a:lvl1pPr>
            <a:lvl2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2pPr>
            <a:lvl3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3pPr>
            <a:lvl4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4pPr>
            <a:lvl5pPr marL="0" indent="0" algn="ctr">
              <a:buFontTx/>
              <a:buNone/>
              <a:tabLst/>
              <a:defRPr sz="1350" b="0">
                <a:solidFill>
                  <a:schemeClr val="accent1"/>
                </a:solidFill>
              </a:defRPr>
            </a:lvl5pPr>
          </a:lstStyle>
          <a:p>
            <a:pPr lvl="0"/>
            <a:r>
              <a:rPr lang="nb-NO"/>
              <a:t>Skriv inn tema/kapittel</a:t>
            </a: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52268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m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ssholder for bilde 18"/>
          <p:cNvSpPr>
            <a:spLocks noGrp="1"/>
          </p:cNvSpPr>
          <p:nvPr>
            <p:ph type="pic" sz="quarter" idx="15" hasCustomPrompt="1"/>
          </p:nvPr>
        </p:nvSpPr>
        <p:spPr>
          <a:xfrm>
            <a:off x="-28575" y="610002"/>
            <a:ext cx="9186863" cy="45646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 </a:t>
            </a: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</p:spTree>
    <p:extLst>
      <p:ext uri="{BB962C8B-B14F-4D97-AF65-F5344CB8AC3E}">
        <p14:creationId xmlns:p14="http://schemas.microsoft.com/office/powerpoint/2010/main" val="262959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F5DF45-64A6-F04F-9F17-296EC321A6D3}" type="datetime1">
              <a:rPr lang="nb-NO" smtClean="0"/>
              <a:t>15.11.2023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1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</p:spTree>
    <p:extLst>
      <p:ext uri="{BB962C8B-B14F-4D97-AF65-F5344CB8AC3E}">
        <p14:creationId xmlns:p14="http://schemas.microsoft.com/office/powerpoint/2010/main" val="2012666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67695" y="1455738"/>
            <a:ext cx="8219104" cy="32758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baseline="0"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05092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1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linje 11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67695" y="735014"/>
            <a:ext cx="8219104" cy="3996532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baseline="0"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7" name="Plassholder for dato 6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8" name="Plassholder for bunntekst 7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9" name="Plassholder for lysbildenummer 8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Plassholder for tekst 15"/>
          <p:cNvSpPr>
            <a:spLocks noGrp="1"/>
          </p:cNvSpPr>
          <p:nvPr>
            <p:ph type="body" sz="quarter" idx="17" hasCustomPrompt="1"/>
          </p:nvPr>
        </p:nvSpPr>
        <p:spPr>
          <a:xfrm>
            <a:off x="7048500" y="1455739"/>
            <a:ext cx="1636713" cy="327580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900" b="1">
                <a:solidFill>
                  <a:schemeClr val="accent1"/>
                </a:solidFill>
              </a:defRPr>
            </a:lvl1pPr>
            <a:lvl2pPr marL="0" indent="0">
              <a:lnSpc>
                <a:spcPts val="1200"/>
              </a:lnSpc>
              <a:spcBef>
                <a:spcPts val="0"/>
              </a:spcBef>
              <a:buFontTx/>
              <a:buNone/>
              <a:tabLst/>
              <a:defRPr sz="1050" b="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4763" indent="0">
              <a:buFontTx/>
              <a:buNone/>
              <a:tabLst/>
              <a:defRPr sz="1200" b="0"/>
            </a:lvl3pPr>
            <a:lvl4pPr marL="4763" indent="0">
              <a:buFontTx/>
              <a:buNone/>
              <a:tabLst/>
              <a:defRPr sz="1200" b="0"/>
            </a:lvl4pPr>
            <a:lvl5pPr marL="4763" indent="0">
              <a:buFontTx/>
              <a:buNone/>
              <a:tabLst/>
              <a:defRPr sz="1200" b="0"/>
            </a:lvl5pPr>
          </a:lstStyle>
          <a:p>
            <a:pPr lvl="0"/>
            <a:r>
              <a:rPr lang="nb-NO"/>
              <a:t>Figurtekst</a:t>
            </a:r>
          </a:p>
        </p:txBody>
      </p:sp>
      <p:sp>
        <p:nvSpPr>
          <p:cNvPr id="16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8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13" name="Plassholder for innhold 6"/>
          <p:cNvSpPr>
            <a:spLocks noGrp="1"/>
          </p:cNvSpPr>
          <p:nvPr>
            <p:ph sz="quarter" idx="22" hasCustomPrompt="1"/>
          </p:nvPr>
        </p:nvSpPr>
        <p:spPr>
          <a:xfrm>
            <a:off x="467695" y="1455738"/>
            <a:ext cx="6394138" cy="3275807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/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445235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Rett linje 9"/>
          <p:cNvCxnSpPr/>
          <p:nvPr/>
        </p:nvCxnSpPr>
        <p:spPr>
          <a:xfrm>
            <a:off x="0" y="4860331"/>
            <a:ext cx="9144000" cy="0"/>
          </a:xfrm>
          <a:prstGeom prst="line">
            <a:avLst/>
          </a:prstGeom>
          <a:ln w="95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innhold 6"/>
          <p:cNvSpPr>
            <a:spLocks noGrp="1"/>
          </p:cNvSpPr>
          <p:nvPr>
            <p:ph sz="quarter" idx="17" hasCustomPrompt="1"/>
          </p:nvPr>
        </p:nvSpPr>
        <p:spPr>
          <a:xfrm>
            <a:off x="46751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innhold 6"/>
          <p:cNvSpPr>
            <a:spLocks noGrp="1"/>
          </p:cNvSpPr>
          <p:nvPr>
            <p:ph sz="quarter" idx="18" hasCustomPrompt="1"/>
          </p:nvPr>
        </p:nvSpPr>
        <p:spPr>
          <a:xfrm>
            <a:off x="4719479" y="1455738"/>
            <a:ext cx="3969544" cy="3275807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Sett inn tekst/ bilde/ diagram/ tabell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9" b="39729"/>
          <a:stretch/>
        </p:blipFill>
        <p:spPr>
          <a:xfrm>
            <a:off x="-12274" y="-12276"/>
            <a:ext cx="9182548" cy="573733"/>
          </a:xfrm>
          <a:prstGeom prst="rect">
            <a:avLst/>
          </a:prstGeom>
        </p:spPr>
      </p:pic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467917" y="735014"/>
            <a:ext cx="8218883" cy="612774"/>
          </a:xfrm>
          <a:prstGeom prst="rect">
            <a:avLst/>
          </a:prstGeom>
        </p:spPr>
        <p:txBody>
          <a:bodyPr/>
          <a:lstStyle/>
          <a:p>
            <a:r>
              <a:rPr lang="nb-NO" err="1"/>
              <a:t>Headline</a:t>
            </a:r>
            <a:endParaRPr lang="nb-NO"/>
          </a:p>
        </p:txBody>
      </p:sp>
      <p:sp>
        <p:nvSpPr>
          <p:cNvPr id="16" name="Plassholder for tekst 10"/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6992912" cy="561975"/>
          </a:xfrm>
          <a:prstGeom prst="rect">
            <a:avLst/>
          </a:prstGeom>
        </p:spPr>
        <p:txBody>
          <a:bodyPr lIns="288000" tIns="0" anchor="ctr" anchorCtr="0"/>
          <a:lstStyle>
            <a:lvl1pPr marL="0" indent="0">
              <a:buNone/>
              <a:defRPr sz="1500" b="0" cap="all" spc="75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kriv inn tema/kapittel</a:t>
            </a:r>
          </a:p>
        </p:txBody>
      </p:sp>
      <p:sp>
        <p:nvSpPr>
          <p:cNvPr id="2" name="Plassholder for dato 1"/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Plassholder for bunntekst 4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2933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4006683232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06541" y="4860331"/>
            <a:ext cx="2414818" cy="27840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50" cap="all" spc="225" baseline="0">
                <a:solidFill>
                  <a:schemeClr val="accent1"/>
                </a:solidFill>
              </a:defRPr>
            </a:lvl1pPr>
          </a:lstStyle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67695" y="4860331"/>
            <a:ext cx="3707754" cy="27840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l">
              <a:defRPr sz="750" cap="all" spc="150" baseline="0">
                <a:solidFill>
                  <a:schemeClr val="accent1"/>
                </a:solidFill>
              </a:defRPr>
            </a:lvl1pPr>
          </a:lstStyle>
          <a:p>
            <a:r>
              <a:rPr lang="nb-NO"/>
              <a:t>Menon Economic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28384" y="4860331"/>
            <a:ext cx="858416" cy="278407"/>
          </a:xfrm>
          <a:prstGeom prst="rect">
            <a:avLst/>
          </a:prstGeom>
        </p:spPr>
        <p:txBody>
          <a:bodyPr vert="horz" lIns="0" tIns="0" rIns="0" bIns="0" rtlCol="0" anchor="ctr" anchorCtr="0"/>
          <a:lstStyle>
            <a:lvl1pPr algn="r">
              <a:defRPr sz="750" spc="150" baseline="0">
                <a:solidFill>
                  <a:schemeClr val="accent1"/>
                </a:solidFill>
              </a:defRPr>
            </a:lvl1pPr>
          </a:lstStyle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25698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13" r:id="rId3"/>
    <p:sldLayoutId id="2147483719" r:id="rId4"/>
    <p:sldLayoutId id="2147483729" r:id="rId5"/>
    <p:sldLayoutId id="2147483708" r:id="rId6"/>
    <p:sldLayoutId id="2147483735" r:id="rId7"/>
    <p:sldLayoutId id="2147483731" r:id="rId8"/>
    <p:sldLayoutId id="2147483689" r:id="rId9"/>
    <p:sldLayoutId id="2147483736" r:id="rId10"/>
    <p:sldLayoutId id="2147483732" r:id="rId11"/>
    <p:sldLayoutId id="2147483710" r:id="rId12"/>
    <p:sldLayoutId id="2147483734" r:id="rId13"/>
    <p:sldLayoutId id="2147483715" r:id="rId14"/>
    <p:sldLayoutId id="2147483711" r:id="rId15"/>
    <p:sldLayoutId id="2147483733" r:id="rId16"/>
    <p:sldLayoutId id="2147483712" r:id="rId17"/>
    <p:sldLayoutId id="2147483714" r:id="rId18"/>
    <p:sldLayoutId id="2147483717" r:id="rId1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2200" b="1" i="0" kern="1200">
          <a:solidFill>
            <a:schemeClr val="accent1"/>
          </a:solidFill>
          <a:latin typeface="Calibri" charset="0"/>
          <a:ea typeface="Calibri" charset="0"/>
          <a:cs typeface="Calibri" charset="0"/>
        </a:defRPr>
      </a:lvl1pPr>
    </p:titleStyle>
    <p:bodyStyle>
      <a:lvl1pPr marL="180975" indent="-180975" algn="l" defTabSz="685800" rtl="0" eaLnBrk="1" latinLnBrk="0" hangingPunct="1">
        <a:lnSpc>
          <a:spcPct val="100000"/>
        </a:lnSpc>
        <a:spcBef>
          <a:spcPts val="500"/>
        </a:spcBef>
        <a:buClr>
          <a:schemeClr val="accent2"/>
        </a:buClr>
        <a:buFont typeface="Arial" charset="0"/>
        <a:buChar char="•"/>
        <a:tabLst/>
        <a:defRPr sz="18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1pPr>
      <a:lvl2pPr marL="311150" indent="-130175" algn="l" defTabSz="685800" rtl="0" eaLnBrk="1" latinLnBrk="0" hangingPunct="1">
        <a:lnSpc>
          <a:spcPct val="100000"/>
        </a:lnSpc>
        <a:spcBef>
          <a:spcPts val="300"/>
        </a:spcBef>
        <a:buClrTx/>
        <a:buSzPct val="100000"/>
        <a:buFont typeface=".AppleSystemUIFont" charset="-120"/>
        <a:buChar char="‑"/>
        <a:tabLst/>
        <a:defRPr sz="15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2pPr>
      <a:lvl3pPr marL="447675" indent="-136525" algn="l" defTabSz="685800" rtl="0" eaLnBrk="1" latinLnBrk="0" hangingPunct="1">
        <a:lnSpc>
          <a:spcPct val="100000"/>
        </a:lnSpc>
        <a:spcBef>
          <a:spcPts val="300"/>
        </a:spcBef>
        <a:buFont typeface=".AppleSystemUIFont" charset="-120"/>
        <a:buChar char="‑"/>
        <a:tabLst/>
        <a:defRPr sz="1300" b="0" i="1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3pPr>
      <a:lvl4pPr marL="577850" indent="-130175" algn="l" defTabSz="685800" rtl="0" eaLnBrk="1" latinLnBrk="0" hangingPunct="1">
        <a:lnSpc>
          <a:spcPct val="100000"/>
        </a:lnSpc>
        <a:spcBef>
          <a:spcPts val="300"/>
        </a:spcBef>
        <a:buFont typeface=".AppleSystemUIFont" charset="-120"/>
        <a:buChar char="‑"/>
        <a:tabLst/>
        <a:defRPr sz="11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4pPr>
      <a:lvl5pPr marL="6350" indent="0" algn="l" defTabSz="685800" rtl="0" eaLnBrk="1" latinLnBrk="0" hangingPunct="1">
        <a:lnSpc>
          <a:spcPct val="100000"/>
        </a:lnSpc>
        <a:spcBef>
          <a:spcPts val="1000"/>
        </a:spcBef>
        <a:buFont typeface=".AppleSystemUIFont" charset="-120"/>
        <a:buNone/>
        <a:tabLst/>
        <a:defRPr sz="900" b="0" i="0" kern="1200">
          <a:solidFill>
            <a:schemeClr val="tx1">
              <a:lumMod val="65000"/>
              <a:lumOff val="35000"/>
            </a:schemeClr>
          </a:solidFill>
          <a:latin typeface="Calibri" charset="0"/>
          <a:ea typeface="Calibri" charset="0"/>
          <a:cs typeface="Calibri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orient="horz" pos="463">
          <p15:clr>
            <a:srgbClr val="F26B43"/>
          </p15:clr>
        </p15:guide>
        <p15:guide id="10" orient="horz" pos="849">
          <p15:clr>
            <a:srgbClr val="F26B43"/>
          </p15:clr>
        </p15:guide>
        <p15:guide id="11" orient="horz" pos="917">
          <p15:clr>
            <a:srgbClr val="F26B43"/>
          </p15:clr>
        </p15:guide>
        <p15:guide id="12" orient="horz" pos="2981">
          <p15:clr>
            <a:srgbClr val="F26B43"/>
          </p15:clr>
        </p15:guide>
        <p15:guide id="13" pos="295">
          <p15:clr>
            <a:srgbClr val="F26B43"/>
          </p15:clr>
        </p15:guide>
        <p15:guide id="14" pos="5471">
          <p15:clr>
            <a:srgbClr val="F26B43"/>
          </p15:clr>
        </p15:guide>
        <p15:guide id="15" pos="2795">
          <p15:clr>
            <a:srgbClr val="F26B43"/>
          </p15:clr>
        </p15:guide>
        <p15:guide id="16" pos="2970">
          <p15:clr>
            <a:srgbClr val="F26B43"/>
          </p15:clr>
        </p15:guide>
        <p15:guide id="17" pos="75">
          <p15:clr>
            <a:srgbClr val="F26B43"/>
          </p15:clr>
        </p15:guide>
        <p15:guide id="18" pos="5695">
          <p15:clr>
            <a:srgbClr val="F26B43"/>
          </p15:clr>
        </p15:guide>
        <p15:guide id="19" orient="horz" pos="3176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5" Type="http://schemas.openxmlformats.org/officeDocument/2006/relationships/image" Target="../media/image16.emf"/><Relationship Id="rId4" Type="http://schemas.openxmlformats.org/officeDocument/2006/relationships/image" Target="../media/image9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3.xml"/><Relationship Id="rId6" Type="http://schemas.openxmlformats.org/officeDocument/2006/relationships/image" Target="../media/image18.emf"/><Relationship Id="rId5" Type="http://schemas.openxmlformats.org/officeDocument/2006/relationships/image" Target="../media/image17.emf"/><Relationship Id="rId4" Type="http://schemas.openxmlformats.org/officeDocument/2006/relationships/image" Target="../media/image9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Relationship Id="rId5" Type="http://schemas.openxmlformats.org/officeDocument/2006/relationships/image" Target="../media/image19.emf"/><Relationship Id="rId4" Type="http://schemas.openxmlformats.org/officeDocument/2006/relationships/image" Target="../media/image9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5.xml"/><Relationship Id="rId4" Type="http://schemas.openxmlformats.org/officeDocument/2006/relationships/image" Target="../media/image20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6.xml"/><Relationship Id="rId5" Type="http://schemas.openxmlformats.org/officeDocument/2006/relationships/image" Target="../media/image21.emf"/><Relationship Id="rId4" Type="http://schemas.openxmlformats.org/officeDocument/2006/relationships/image" Target="../media/image7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7.xml"/><Relationship Id="rId4" Type="http://schemas.openxmlformats.org/officeDocument/2006/relationships/image" Target="../media/image9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5" Type="http://schemas.openxmlformats.org/officeDocument/2006/relationships/image" Target="../media/image8.emf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4" Type="http://schemas.openxmlformats.org/officeDocument/2006/relationships/image" Target="../media/image6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notesSlide" Target="../notesSlides/notesSlide2.xml"/><Relationship Id="rId7" Type="http://schemas.openxmlformats.org/officeDocument/2006/relationships/diagramLayout" Target="../diagrams/layout1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diagramData" Target="../diagrams/data1.xml"/><Relationship Id="rId5" Type="http://schemas.openxmlformats.org/officeDocument/2006/relationships/image" Target="../media/image9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6.bin"/><Relationship Id="rId9" Type="http://schemas.openxmlformats.org/officeDocument/2006/relationships/diagramColors" Target="../diagrams/colors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8.emf"/><Relationship Id="rId4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19.xml"/><Relationship Id="rId1" Type="http://schemas.openxmlformats.org/officeDocument/2006/relationships/tags" Target="../tags/tag10.xml"/><Relationship Id="rId6" Type="http://schemas.openxmlformats.org/officeDocument/2006/relationships/image" Target="../media/image15.emf"/><Relationship Id="rId5" Type="http://schemas.openxmlformats.org/officeDocument/2006/relationships/image" Target="../media/image14.emf"/><Relationship Id="rId4" Type="http://schemas.openxmlformats.org/officeDocument/2006/relationships/image" Target="../media/image9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4" Type="http://schemas.openxmlformats.org/officeDocument/2006/relationships/image" Target="../media/image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6AAD97D-FC38-46C3-8C56-F4640BF489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9749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6AAD97D-FC38-46C3-8C56-F4640BF489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23058322-A77A-46A1-9AF0-C3E2420547C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b="1" dirty="0" err="1"/>
              <a:t>Ståa</a:t>
            </a:r>
            <a:r>
              <a:rPr lang="nb-NO" b="1" dirty="0"/>
              <a:t> i norske kommuner</a:t>
            </a:r>
            <a:br>
              <a:rPr lang="nb-NO" dirty="0"/>
            </a:br>
            <a:r>
              <a:rPr lang="nb-NO" dirty="0"/>
              <a:t>KARTLEGGING AV KOMMUNER SOM HAR UTFORDRINGER MED Å LØSE SINE OPPGAVER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FB94A16C-758F-4722-8FFE-F92F342E1F8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79911" y="3562963"/>
            <a:ext cx="5868591" cy="985286"/>
          </a:xfrm>
        </p:spPr>
        <p:txBody>
          <a:bodyPr/>
          <a:lstStyle/>
          <a:p>
            <a:r>
              <a:rPr lang="nb-NO" dirty="0"/>
              <a:t>13. februar 2023</a:t>
            </a:r>
          </a:p>
          <a:p>
            <a:endParaRPr lang="nb-NO" dirty="0"/>
          </a:p>
          <a:p>
            <a:r>
              <a:rPr lang="nb-NO" sz="1400" dirty="0"/>
              <a:t>Simen Pedersen</a:t>
            </a:r>
          </a:p>
        </p:txBody>
      </p:sp>
    </p:spTree>
    <p:extLst>
      <p:ext uri="{BB962C8B-B14F-4D97-AF65-F5344CB8AC3E}">
        <p14:creationId xmlns:p14="http://schemas.microsoft.com/office/powerpoint/2010/main" val="1092426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1A5A1FEA-9302-4E75-A114-A80E8BE01F4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430324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1A5A1FEA-9302-4E75-A114-A80E8BE01F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D0900D0D-E5EC-43BD-A492-140D1C9D4DE6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>
            <a:normAutofit fontScale="92500" lnSpcReduction="20000"/>
          </a:bodyPr>
          <a:lstStyle/>
          <a:p>
            <a:r>
              <a:rPr lang="nb-NO"/>
              <a:t>Resultatene fra den statistiske analysen viser at vi med </a:t>
            </a:r>
            <a:r>
              <a:rPr lang="nb-NO" u="sng"/>
              <a:t>stor sikkerhet </a:t>
            </a:r>
            <a:r>
              <a:rPr lang="nb-NO"/>
              <a:t>kan konkludere med at små distriktskommuner har størst utfordringer.</a:t>
            </a:r>
          </a:p>
          <a:p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Økonomisk handlingsrom kan til en viss grad bidra med økt lovoppfyllelse – men ikke </a:t>
            </a:r>
            <a:r>
              <a:rPr lang="nb-NO" sz="1800" u="sng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fullt ut</a:t>
            </a:r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</a:p>
          <a:p>
            <a:r>
              <a:rPr lang="nb-NO"/>
              <a:t>Disse resultatene er </a:t>
            </a:r>
            <a:r>
              <a:rPr lang="nb-NO" u="sng"/>
              <a:t>robuste</a:t>
            </a:r>
            <a:r>
              <a:rPr lang="nb-NO"/>
              <a:t>: </a:t>
            </a:r>
          </a:p>
          <a:p>
            <a:pPr lvl="1"/>
            <a:r>
              <a:rPr lang="nb-NO"/>
              <a:t>For hvordan vi operasjonaliserer lovkravet i en indikator</a:t>
            </a:r>
          </a:p>
          <a:p>
            <a:pPr lvl="1"/>
            <a:r>
              <a:rPr lang="nb-NO"/>
              <a:t>Stabile over tid (fra 2016 til 2019)</a:t>
            </a:r>
          </a:p>
          <a:p>
            <a:pPr lvl="1"/>
            <a:r>
              <a:rPr lang="nb-NO"/>
              <a:t>Uendret hvis vi fjerner fem krav som ikke direkte fanger opp lovkrav</a:t>
            </a:r>
          </a:p>
          <a:p>
            <a:pPr lvl="1"/>
            <a:r>
              <a:rPr lang="nb-NO"/>
              <a:t>Uendret hvis vi legger til samspillsledd</a:t>
            </a:r>
          </a:p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67F65A6C-AB29-4753-B7F8-43D1C02E9DC8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lvl="1"/>
            <a:endParaRPr lang="nb-NO"/>
          </a:p>
          <a:p>
            <a:pPr marL="180975" lvl="1" indent="0">
              <a:buNone/>
            </a:pPr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4AA9DB8-8218-496D-B8E7-5DAA42ABCD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må distriktskommuner har størst utfordringer med lovoppfyllelsen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BF50476-AB37-40C6-869D-2D3FCEABBE7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B1565A5-D0A0-4843-B836-DE0C1164C72F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631762A5-9DC6-4D5D-BAA3-7F6584FCEF7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7D5F2D09-C27E-42D9-BE64-16EC1115458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0</a:t>
            </a:fld>
            <a:endParaRPr lang="nb-NO"/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4C382849-54E4-46C2-AA18-F29F5C6E658F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54467" y="1992951"/>
            <a:ext cx="3662309" cy="2388186"/>
          </a:xfrm>
          <a:prstGeom prst="rect">
            <a:avLst/>
          </a:prstGeom>
          <a:noFill/>
          <a:ln>
            <a:noFill/>
          </a:ln>
        </p:spPr>
      </p:pic>
      <p:sp>
        <p:nvSpPr>
          <p:cNvPr id="21" name="TekstSylinder 20">
            <a:extLst>
              <a:ext uri="{FF2B5EF4-FFF2-40B4-BE49-F238E27FC236}">
                <a16:creationId xmlns:a16="http://schemas.microsoft.com/office/drawing/2014/main" id="{04C3A130-E77C-4459-BCFB-B7E625C5E089}"/>
              </a:ext>
            </a:extLst>
          </p:cNvPr>
          <p:cNvSpPr txBox="1"/>
          <p:nvPr/>
        </p:nvSpPr>
        <p:spPr>
          <a:xfrm>
            <a:off x="4424522" y="4417439"/>
            <a:ext cx="459217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100" i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om følge av manglende data var det ikke mulig å predikere utfallet for seks kommuner. N=350.</a:t>
            </a:r>
            <a:endParaRPr lang="nb-NO" sz="1100"/>
          </a:p>
        </p:txBody>
      </p:sp>
      <p:sp>
        <p:nvSpPr>
          <p:cNvPr id="24" name="TekstSylinder 23">
            <a:extLst>
              <a:ext uri="{FF2B5EF4-FFF2-40B4-BE49-F238E27FC236}">
                <a16:creationId xmlns:a16="http://schemas.microsoft.com/office/drawing/2014/main" id="{0F38FC3E-7A64-45D2-A08A-78C21CA64D3F}"/>
              </a:ext>
            </a:extLst>
          </p:cNvPr>
          <p:cNvSpPr txBox="1"/>
          <p:nvPr/>
        </p:nvSpPr>
        <p:spPr>
          <a:xfrm>
            <a:off x="4696827" y="1455737"/>
            <a:ext cx="4057208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400" b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lottdiagram – faktisk grad av lovoppfyllelse versus predikert grad av lovoppfyllelse</a:t>
            </a:r>
            <a:endParaRPr lang="nb-NO" b="1"/>
          </a:p>
        </p:txBody>
      </p:sp>
    </p:spTree>
    <p:extLst>
      <p:ext uri="{BB962C8B-B14F-4D97-AF65-F5344CB8AC3E}">
        <p14:creationId xmlns:p14="http://schemas.microsoft.com/office/powerpoint/2010/main" val="216651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>
            <a:extLst>
              <a:ext uri="{FF2B5EF4-FFF2-40B4-BE49-F238E27FC236}">
                <a16:creationId xmlns:a16="http://schemas.microsoft.com/office/drawing/2014/main" id="{1FDA8870-DEEB-46B4-84E8-07F6400F01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57211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4" name="Objekt 13" hidden="1">
                        <a:extLst>
                          <a:ext uri="{FF2B5EF4-FFF2-40B4-BE49-F238E27FC236}">
                            <a16:creationId xmlns:a16="http://schemas.microsoft.com/office/drawing/2014/main" id="{1FDA8870-DEEB-46B4-84E8-07F6400F01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0" name="Plassholder for innhold 29">
            <a:extLst>
              <a:ext uri="{FF2B5EF4-FFF2-40B4-BE49-F238E27FC236}">
                <a16:creationId xmlns:a16="http://schemas.microsoft.com/office/drawing/2014/main" id="{12E71F11-8942-40B8-8B64-96E0AF500942}"/>
              </a:ext>
            </a:extLst>
          </p:cNvPr>
          <p:cNvPicPr>
            <a:picLocks noGrp="1" noChangeAspect="1"/>
          </p:cNvPicPr>
          <p:nvPr>
            <p:ph sz="quarter" idx="19"/>
          </p:nvPr>
        </p:nvPicPr>
        <p:blipFill>
          <a:blip r:embed="rId5"/>
          <a:stretch>
            <a:fillRect/>
          </a:stretch>
        </p:blipFill>
        <p:spPr>
          <a:xfrm>
            <a:off x="468313" y="2174081"/>
            <a:ext cx="3968750" cy="2381250"/>
          </a:xfrm>
          <a:prstGeom prst="rect">
            <a:avLst/>
          </a:prstGeom>
        </p:spPr>
      </p:pic>
      <p:sp>
        <p:nvSpPr>
          <p:cNvPr id="15" name="Tittel 14">
            <a:extLst>
              <a:ext uri="{FF2B5EF4-FFF2-40B4-BE49-F238E27FC236}">
                <a16:creationId xmlns:a16="http://schemas.microsoft.com/office/drawing/2014/main" id="{A327147E-8B62-4D94-9305-33CD13FAD2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Modellen fanger opp det samme mønsteret som vi kan observere i faktiske data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A89216EE-CD92-4A51-A52C-3E07084F74A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KARTLEGGING AV KOMMUNER SOM HAR UTFORDRINGER MED Å LØSE SINE OPPGAVER</a:t>
            </a:r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24BBE685-1FFC-4F6C-BA88-54050217AD3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/>
              <a:t>Faktisk </a:t>
            </a:r>
            <a:r>
              <a:rPr lang="nb-NO" u="sng"/>
              <a:t>gjennomsnittlig</a:t>
            </a:r>
            <a:r>
              <a:rPr lang="nb-NO"/>
              <a:t> grad av lovoppfyllelse for ulike kommunetyper</a:t>
            </a:r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26BA4556-F303-4164-A321-1EBCC8BDF4A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nb-NO"/>
              <a:t>Predikert </a:t>
            </a:r>
            <a:r>
              <a:rPr lang="nb-NO" u="sng"/>
              <a:t>gjennomsnittlig</a:t>
            </a:r>
            <a:r>
              <a:rPr lang="nb-NO"/>
              <a:t> grad av lovoppfyllelse for ulike kommunetyper</a:t>
            </a:r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F8E22292-3FAE-4535-9089-10AC793B4A59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883340DE-7AA0-4270-9659-04C9F239815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D451B379-B159-4A97-9E48-D9B1527E8E89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1</a:t>
            </a:fld>
            <a:endParaRPr lang="nb-NO"/>
          </a:p>
        </p:txBody>
      </p:sp>
      <p:sp>
        <p:nvSpPr>
          <p:cNvPr id="38" name="TekstSylinder 37">
            <a:extLst>
              <a:ext uri="{FF2B5EF4-FFF2-40B4-BE49-F238E27FC236}">
                <a16:creationId xmlns:a16="http://schemas.microsoft.com/office/drawing/2014/main" id="{C7B518B3-4D61-4A34-B6BB-2A64554FA516}"/>
              </a:ext>
            </a:extLst>
          </p:cNvPr>
          <p:cNvSpPr txBox="1"/>
          <p:nvPr/>
        </p:nvSpPr>
        <p:spPr>
          <a:xfrm>
            <a:off x="4696827" y="4555331"/>
            <a:ext cx="45921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100" i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=350.</a:t>
            </a:r>
            <a:endParaRPr lang="nb-NO" sz="1100"/>
          </a:p>
        </p:txBody>
      </p:sp>
      <p:sp>
        <p:nvSpPr>
          <p:cNvPr id="39" name="TekstSylinder 38">
            <a:extLst>
              <a:ext uri="{FF2B5EF4-FFF2-40B4-BE49-F238E27FC236}">
                <a16:creationId xmlns:a16="http://schemas.microsoft.com/office/drawing/2014/main" id="{BE3C63BE-9298-44AB-B47A-2283B67300A9}"/>
              </a:ext>
            </a:extLst>
          </p:cNvPr>
          <p:cNvSpPr txBox="1"/>
          <p:nvPr/>
        </p:nvSpPr>
        <p:spPr>
          <a:xfrm>
            <a:off x="546168" y="4511941"/>
            <a:ext cx="4592170" cy="2616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100" i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=262.</a:t>
            </a:r>
            <a:endParaRPr lang="nb-NO" sz="1100"/>
          </a:p>
        </p:txBody>
      </p:sp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93A8D731-E9A8-45DE-8FB3-AF01CA6BE844}"/>
              </a:ext>
            </a:extLst>
          </p:cNvPr>
          <p:cNvPicPr>
            <a:picLocks noGrp="1" noChangeAspect="1"/>
          </p:cNvPicPr>
          <p:nvPr>
            <p:ph sz="quarter" idx="20"/>
          </p:nvPr>
        </p:nvPicPr>
        <p:blipFill>
          <a:blip r:embed="rId6"/>
          <a:stretch>
            <a:fillRect/>
          </a:stretch>
        </p:blipFill>
        <p:spPr>
          <a:xfrm>
            <a:off x="4718050" y="2173817"/>
            <a:ext cx="3968750" cy="2381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531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74859D54-0BDE-418B-8013-8FADD61BD4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53041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74859D54-0BDE-418B-8013-8FADD61BD4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Plassholder for innhold 17">
            <a:extLst>
              <a:ext uri="{FF2B5EF4-FFF2-40B4-BE49-F238E27FC236}">
                <a16:creationId xmlns:a16="http://schemas.microsoft.com/office/drawing/2014/main" id="{D4C1091A-3AF3-4438-9C3C-C892189361CE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67695" y="1520827"/>
            <a:ext cx="3406652" cy="3339504"/>
          </a:xfrm>
        </p:spPr>
        <p:txBody>
          <a:bodyPr>
            <a:normAutofit fontScale="85000" lnSpcReduction="20000"/>
          </a:bodyPr>
          <a:lstStyle/>
          <a:p>
            <a:r>
              <a:rPr lang="nb-NO" dirty="0"/>
              <a:t>Datagrunnlaget har også muliggjort å se nærmere på hvilke </a:t>
            </a:r>
            <a:r>
              <a:rPr lang="nb-NO" u="sng" dirty="0"/>
              <a:t>typer lovkrav </a:t>
            </a:r>
            <a:r>
              <a:rPr lang="nb-NO" dirty="0"/>
              <a:t>som er mest utfordrende</a:t>
            </a:r>
          </a:p>
          <a:p>
            <a:r>
              <a:rPr lang="nb-NO" dirty="0"/>
              <a:t>Det finnes flere typer lovkrav som </a:t>
            </a:r>
            <a:r>
              <a:rPr lang="nb-NO" u="sng" dirty="0"/>
              <a:t>ikke er dekket </a:t>
            </a:r>
            <a:r>
              <a:rPr lang="nb-NO" dirty="0"/>
              <a:t>av kartleggingen</a:t>
            </a:r>
          </a:p>
          <a:p>
            <a:r>
              <a:rPr lang="nb-NO" dirty="0"/>
              <a:t>Oppgavetypen som kommunene ser ut til å ha størst utfordringer med er </a:t>
            </a:r>
            <a:r>
              <a:rPr lang="nb-NO" u="sng" dirty="0"/>
              <a:t>plankrav</a:t>
            </a:r>
          </a:p>
          <a:p>
            <a:r>
              <a:rPr lang="nb-NO" dirty="0"/>
              <a:t>Det skyldes sannsynligvis at planoppgavene krever spesialisert kompetanse og tverrfaglighet – og er en liten oppgave målt i tidsbruk per år</a:t>
            </a:r>
          </a:p>
          <a:p>
            <a:r>
              <a:rPr lang="nb-NO" dirty="0"/>
              <a:t>Vi har bevisst valgt å se bort fra lovoppfyllelse innenfor ulike områder. Årsaken er at disse analysene er veldig avhengig av enkeltindikatorer</a:t>
            </a:r>
          </a:p>
        </p:txBody>
      </p:sp>
      <p:sp>
        <p:nvSpPr>
          <p:cNvPr id="16" name="Tittel 15">
            <a:extLst>
              <a:ext uri="{FF2B5EF4-FFF2-40B4-BE49-F238E27FC236}">
                <a16:creationId xmlns:a16="http://schemas.microsoft.com/office/drawing/2014/main" id="{E2C43876-1247-44BE-B96B-E87A726C40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Lovkrav som krever spesialiserte og tverrfaglige fagmiljø er særlig utfordrende</a:t>
            </a:r>
          </a:p>
        </p:txBody>
      </p:sp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EEAA023E-6540-4CD6-ABA4-96EE530709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 dirty="0"/>
              <a:t>KARTLEGGING AV KOMMUNER SOM HAR UTFORDRINGER MED Å LØSE SINE OPPGAVER</a:t>
            </a:r>
          </a:p>
        </p:txBody>
      </p:sp>
      <p:sp>
        <p:nvSpPr>
          <p:cNvPr id="20" name="Plassholder for tekst 19">
            <a:extLst>
              <a:ext uri="{FF2B5EF4-FFF2-40B4-BE49-F238E27FC236}">
                <a16:creationId xmlns:a16="http://schemas.microsoft.com/office/drawing/2014/main" id="{91E39E8F-5254-44F9-849A-403C7AE1A42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022223" y="1433186"/>
            <a:ext cx="3968751" cy="432000"/>
          </a:xfrm>
        </p:spPr>
        <p:txBody>
          <a:bodyPr/>
          <a:lstStyle/>
          <a:p>
            <a:r>
              <a:rPr lang="nb-NO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jennomsnittlig grad av lovoppfyllelse for ulike typer lovkrav, i prosent*</a:t>
            </a:r>
            <a:endParaRPr lang="nb-NO" sz="600"/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C6D3107A-26A8-4B34-B2C2-1DF585906AA8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593FE1B5-150A-406C-985A-E01AF3945CD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CA169D80-10B9-47B4-AEB5-46715FC5FB9E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2</a:t>
            </a:fld>
            <a:endParaRPr lang="nb-NO"/>
          </a:p>
        </p:txBody>
      </p:sp>
      <p:pic>
        <p:nvPicPr>
          <p:cNvPr id="21" name="Plassholder for innhold 20">
            <a:extLst>
              <a:ext uri="{FF2B5EF4-FFF2-40B4-BE49-F238E27FC236}">
                <a16:creationId xmlns:a16="http://schemas.microsoft.com/office/drawing/2014/main" id="{F0CD8E12-698A-49E3-B1AD-1DE49243C2B7}"/>
              </a:ext>
            </a:extLst>
          </p:cNvPr>
          <p:cNvPicPr>
            <a:picLocks noGrp="1"/>
          </p:cNvPicPr>
          <p:nvPr>
            <p:ph sz="quarter" idx="19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2223" y="1885209"/>
            <a:ext cx="4560403" cy="2736850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TekstSylinder 22">
            <a:extLst>
              <a:ext uri="{FF2B5EF4-FFF2-40B4-BE49-F238E27FC236}">
                <a16:creationId xmlns:a16="http://schemas.microsoft.com/office/drawing/2014/main" id="{21A51151-9AC6-4592-9094-40E75A144D67}"/>
              </a:ext>
            </a:extLst>
          </p:cNvPr>
          <p:cNvSpPr txBox="1"/>
          <p:nvPr/>
        </p:nvSpPr>
        <p:spPr>
          <a:xfrm>
            <a:off x="4078963" y="4622059"/>
            <a:ext cx="5308227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000" i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*Avhengig/uavhengig av størrelsen på målgruppen som tjenesten er innrettet mot. N=288-356. </a:t>
            </a:r>
            <a:endParaRPr lang="nb-NO" sz="1000"/>
          </a:p>
        </p:txBody>
      </p:sp>
    </p:spTree>
    <p:extLst>
      <p:ext uri="{BB962C8B-B14F-4D97-AF65-F5344CB8AC3E}">
        <p14:creationId xmlns:p14="http://schemas.microsoft.com/office/powerpoint/2010/main" val="227309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DA87990-91F1-4470-ADA0-A5AD8AC5310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7330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DA87990-91F1-4470-ADA0-A5AD8AC531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D320E7CB-D94B-433E-97BA-1DA048BFB2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Statsforvalteres erfaring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3913E34C-3896-4FFF-BF63-CF3AEF30F03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67695" y="1455738"/>
            <a:ext cx="8275338" cy="3275807"/>
          </a:xfrm>
        </p:spPr>
        <p:txBody>
          <a:bodyPr>
            <a:normAutofit fontScale="70000" lnSpcReduction="20000"/>
          </a:bodyPr>
          <a:lstStyle/>
          <a:p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nkelte utfordringer er mer fremtredende i små kommuner, bl.a.</a:t>
            </a:r>
          </a:p>
          <a:p>
            <a:pPr lvl="1"/>
            <a:r>
              <a:rPr lang="nb-NO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å etablere og ivareta robuste fagmiljøer og å tiltrekke og beholde kompetanse</a:t>
            </a:r>
          </a:p>
          <a:p>
            <a:pPr lvl="1"/>
            <a:r>
              <a:rPr lang="nb-NO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abilitetsutfordringer eller at «alle kjenner alle»</a:t>
            </a:r>
          </a:p>
          <a:p>
            <a:pPr lvl="1"/>
            <a:r>
              <a:rPr lang="nb-NO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årbarhet/utfordringer (f.eks. ved behov for bruk av tvang, som krever regelverks- og saksbehandlerkompetanse, eller at få </a:t>
            </a:r>
            <a:r>
              <a:rPr lang="nb-NO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ressurskrevende brukere kan utgjøre en stor del av budsjettet)</a:t>
            </a:r>
          </a:p>
          <a:p>
            <a:r>
              <a:rPr lang="nb-NO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amtidig kan mindre kommuner ha bedre kjennskap til innbyggere og gjennom det levere gode tjenester, klare å mobilisere raskt ved behov, og «ildsjeler» kan ha stor betydning. </a:t>
            </a:r>
            <a:endParaRPr lang="nb-NO"/>
          </a:p>
          <a:p>
            <a:r>
              <a:rPr lang="nb-NO" sz="18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enerelt problem med riktig og tilstrekkelig kompetanse og bemanning over tid. </a:t>
            </a:r>
            <a:r>
              <a:rPr lang="nb-NO"/>
              <a:t>Å sikre og beholde kompetanse er en utfordring på flere områder, blant annet helse og omsorg. </a:t>
            </a:r>
          </a:p>
          <a:p>
            <a:r>
              <a:rPr lang="nb-NO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tore tjenester i kommunen, som helse og omsorg, barnehage og grunnskole, blir ofte prioritert. Områder som </a:t>
            </a:r>
            <a:r>
              <a:rPr lang="nb-NO" err="1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yggtilsyn</a:t>
            </a:r>
            <a:r>
              <a:rPr lang="nb-NO"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, klima og miljø og arkiv virker til sammenlikning å bli prioritert lavere. </a:t>
            </a:r>
            <a:endParaRPr lang="nb-NO"/>
          </a:p>
          <a:p>
            <a:r>
              <a:rPr lang="nb-NO"/>
              <a:t>Juridisk kompetanse og plankompetanse er områder som oppleves som spesielt mangelfulle. </a:t>
            </a:r>
          </a:p>
          <a:p>
            <a:r>
              <a:rPr lang="nb-NO"/>
              <a:t>Kommunene står overfor en rekke ulike krav på mange områder. Det er krevende å ivareta alle kravene, så vel som å orientere seg og holde oversikt over alle kravene.</a:t>
            </a:r>
          </a:p>
          <a:p>
            <a:r>
              <a:rPr lang="nb-NO"/>
              <a:t>Å sikre og beholde kompetanse fremheves gjennomgående som viktig for å kunne utvikle en kommune i ønsket retning. Bl.a. gode samarbeid og kapasitet og kompetanse i ledelsen kan være avgjørende for at en kommune lykkes.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1A3AEF8F-E315-485B-8D79-1646940B6A6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DFD77531-8E07-40AB-AC16-F72A5F8D0867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303E7C7-D615-4DF2-9C82-26BA3B2C25F9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6E86C353-4939-4269-89DD-A57624F87D5B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8149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D5556FE-CC5B-44C4-8637-978CEAEDF7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1488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89" progId="TCLayout.ActiveDocument.1">
                  <p:embed/>
                </p:oleObj>
              </mc:Choice>
              <mc:Fallback>
                <p:oleObj name="think-cell Slide" r:id="rId3" imgW="389" imgH="38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D5556FE-CC5B-44C4-8637-978CEAEDF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642C7F29-9E6B-4831-BE6A-A3914B06796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7519" y="1520827"/>
            <a:ext cx="3969544" cy="3210718"/>
          </a:xfrm>
        </p:spPr>
        <p:txBody>
          <a:bodyPr/>
          <a:lstStyle/>
          <a:p>
            <a:r>
              <a:rPr lang="nb-NO" sz="1400"/>
              <a:t>Små distriktskommuner har størst utfordringer med å oppfylle de lovpålagte oppgave.</a:t>
            </a:r>
            <a:endParaRPr lang="nb-NO" sz="1100"/>
          </a:p>
          <a:p>
            <a:pPr marL="180975" lvl="1" indent="-180975">
              <a:spcBef>
                <a:spcPts val="500"/>
              </a:spcBef>
              <a:buClr>
                <a:schemeClr val="accent2"/>
              </a:buClr>
              <a:buFont typeface="Arial" charset="0"/>
              <a:buChar char="•"/>
            </a:pPr>
            <a:r>
              <a:rPr lang="nb-NO" sz="1400"/>
              <a:t>Økonomisk handlingsrom kan til en viss grad kompensere – men ikke fullt ut.</a:t>
            </a:r>
          </a:p>
          <a:p>
            <a:r>
              <a:rPr lang="nb-NO" sz="1400"/>
              <a:t>Det finnes eksempler på små distriktskommuner som har relativ høy grad av lovoppfyllelse.</a:t>
            </a:r>
          </a:p>
          <a:p>
            <a:r>
              <a:rPr lang="nb-NO" sz="1400"/>
              <a:t>Ingen kommuner oppfyller alle lov- og forskriftskrav.</a:t>
            </a:r>
          </a:p>
          <a:p>
            <a:pPr marL="0" indent="0">
              <a:buNone/>
            </a:pPr>
            <a:endParaRPr lang="nb-NO" sz="140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b-NO" sz="140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012B819-4D1D-4520-B93D-C0738C1D51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Tilbake til hovedkonklusjonene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ABB440E-85C9-4057-BD44-22B33312D2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31" name="TekstSylinder 30">
            <a:extLst>
              <a:ext uri="{FF2B5EF4-FFF2-40B4-BE49-F238E27FC236}">
                <a16:creationId xmlns:a16="http://schemas.microsoft.com/office/drawing/2014/main" id="{6FCF69EA-7644-4ED2-B480-386502883362}"/>
              </a:ext>
            </a:extLst>
          </p:cNvPr>
          <p:cNvSpPr txBox="1"/>
          <p:nvPr/>
        </p:nvSpPr>
        <p:spPr>
          <a:xfrm>
            <a:off x="4662766" y="4624589"/>
            <a:ext cx="45619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00" i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=350. </a:t>
            </a:r>
            <a:endParaRPr lang="nb-NO" sz="1000" i="1"/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BCEC4953-0F23-4886-B74B-03BBCA1DF69B}"/>
              </a:ext>
            </a:extLst>
          </p:cNvPr>
          <p:cNvSpPr txBox="1"/>
          <p:nvPr/>
        </p:nvSpPr>
        <p:spPr>
          <a:xfrm>
            <a:off x="4662766" y="1510457"/>
            <a:ext cx="41416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ariasjon i predikert grad av lovoppfyllelse på tvers av kommuner, normalisert fra 0 til 100</a:t>
            </a:r>
            <a:endParaRPr lang="nb-NO" sz="1000" b="1">
              <a:highlight>
                <a:srgbClr val="FFFF00"/>
              </a:highlight>
            </a:endParaRP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02C60254-586C-425D-B77A-91D9FF47A8B1}"/>
              </a:ext>
            </a:extLst>
          </p:cNvPr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6541" y="1972122"/>
            <a:ext cx="3919816" cy="2631492"/>
          </a:xfrm>
          <a:prstGeom prst="rect">
            <a:avLst/>
          </a:prstGeom>
          <a:noFill/>
          <a:ln>
            <a:noFill/>
          </a:ln>
        </p:spPr>
      </p:pic>
      <p:sp>
        <p:nvSpPr>
          <p:cNvPr id="13" name="Plassholder for dato 4">
            <a:extLst>
              <a:ext uri="{FF2B5EF4-FFF2-40B4-BE49-F238E27FC236}">
                <a16:creationId xmlns:a16="http://schemas.microsoft.com/office/drawing/2014/main" id="{34CD2181-62A6-4A2E-9AA2-EA6F1656E0CF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4706541" y="4860331"/>
            <a:ext cx="2414818" cy="278407"/>
          </a:xfrm>
        </p:spPr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14" name="Plassholder for bunntekst 5">
            <a:extLst>
              <a:ext uri="{FF2B5EF4-FFF2-40B4-BE49-F238E27FC236}">
                <a16:creationId xmlns:a16="http://schemas.microsoft.com/office/drawing/2014/main" id="{C296EBA9-A9AA-4254-ADBE-301E35E0B3D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>
          <a:xfrm>
            <a:off x="467695" y="4860331"/>
            <a:ext cx="3707754" cy="278407"/>
          </a:xfrm>
        </p:spPr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15" name="Plassholder for lysbildenummer 6">
            <a:extLst>
              <a:ext uri="{FF2B5EF4-FFF2-40B4-BE49-F238E27FC236}">
                <a16:creationId xmlns:a16="http://schemas.microsoft.com/office/drawing/2014/main" id="{8F174102-2458-4622-8E56-D4EDA06CFDB2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7828384" y="4860331"/>
            <a:ext cx="858416" cy="278407"/>
          </a:xfrm>
        </p:spPr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04346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7179E815-1C0D-49B7-A211-1ACACE1FE73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7882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7179E815-1C0D-49B7-A211-1ACACE1FE7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17CA271B-9FE1-4DC5-908E-18904D00887B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pPr marL="0" indent="0">
              <a:buNone/>
            </a:pPr>
            <a:r>
              <a:rPr lang="nb-NO" sz="1400" b="1"/>
              <a:t>Utfordringene vi ser i dag vil sannsynligvis forverres fremover</a:t>
            </a:r>
          </a:p>
          <a:p>
            <a:r>
              <a:rPr lang="nb-NO" sz="1400"/>
              <a:t>Befolkningsnedgang i distriktene</a:t>
            </a:r>
          </a:p>
          <a:p>
            <a:r>
              <a:rPr lang="nb-NO" sz="1400"/>
              <a:t>Økende andel eldre</a:t>
            </a:r>
          </a:p>
          <a:p>
            <a:r>
              <a:rPr lang="nb-NO" sz="1400"/>
              <a:t>Færre i yrkesaktiv alder</a:t>
            </a:r>
          </a:p>
          <a:p>
            <a:r>
              <a:rPr lang="nb-NO" sz="1400"/>
              <a:t>Press på offentlige budsjetter</a:t>
            </a:r>
          </a:p>
          <a:p>
            <a:r>
              <a:rPr lang="nb-NO" sz="1400"/>
              <a:t>Press på å øke kvaliteten på tjenestene (flere lov- og forskriftskrav?)</a:t>
            </a:r>
          </a:p>
          <a:p>
            <a:pPr marL="0" indent="0">
              <a:buNone/>
            </a:pPr>
            <a:r>
              <a:rPr lang="nb-NO" sz="1400" b="1" u="sng">
                <a:solidFill>
                  <a:schemeClr val="accent2"/>
                </a:solidFill>
              </a:rPr>
              <a:t>Forskjellene mellom norske kommuner vil øke</a:t>
            </a:r>
          </a:p>
          <a:p>
            <a:pPr marL="0" indent="0">
              <a:buNone/>
            </a:pPr>
            <a:endParaRPr lang="nb-NO" sz="1400"/>
          </a:p>
          <a:p>
            <a:endParaRPr lang="nb-NO" sz="1400"/>
          </a:p>
          <a:p>
            <a:endParaRPr lang="nb-NO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A5416D0-6579-4FF9-9339-72CE40C51B8A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nb-NO" sz="1400" b="1"/>
              <a:t>Det virker rasjonelt å starte med forenkling</a:t>
            </a:r>
          </a:p>
          <a:p>
            <a:r>
              <a:rPr lang="nb-NO" sz="1400"/>
              <a:t>Skaffe seg en totaloversikt over alle lovkrav</a:t>
            </a:r>
          </a:p>
          <a:p>
            <a:r>
              <a:rPr lang="nb-NO" sz="1400"/>
              <a:t>Kutte unødvendige lov- og forskriftskrav</a:t>
            </a:r>
          </a:p>
          <a:p>
            <a:r>
              <a:rPr lang="nb-NO" sz="1400"/>
              <a:t>Vurdere den samlede realismen</a:t>
            </a:r>
          </a:p>
          <a:p>
            <a:pPr marL="0" indent="0">
              <a:buNone/>
            </a:pPr>
            <a:endParaRPr lang="nb-NO"/>
          </a:p>
          <a:p>
            <a:pPr marL="0" indent="0">
              <a:buNone/>
            </a:pPr>
            <a:r>
              <a:rPr lang="nb-NO" sz="1400" b="1"/>
              <a:t>Staten kan ta en mer aktiv rolle som tilrettelegger</a:t>
            </a:r>
          </a:p>
          <a:p>
            <a:r>
              <a:rPr lang="nb-NO" sz="1400"/>
              <a:t>Tilrettelegge kunnskaps-/datagrunnlag</a:t>
            </a:r>
          </a:p>
          <a:p>
            <a:r>
              <a:rPr lang="nb-NO" sz="1400"/>
              <a:t>Digital kompetanseformidling</a:t>
            </a:r>
          </a:p>
          <a:p>
            <a:pPr marL="0" indent="0">
              <a:buNone/>
            </a:pPr>
            <a:endParaRPr lang="nb-NO" sz="1400"/>
          </a:p>
          <a:p>
            <a:pPr marL="0" indent="0">
              <a:buNone/>
            </a:pPr>
            <a:r>
              <a:rPr lang="nb-NO" sz="1400" b="1"/>
              <a:t>Mer inngripende tiltak</a:t>
            </a:r>
          </a:p>
          <a:p>
            <a:pPr lvl="0"/>
            <a:r>
              <a:rPr lang="nb-NO" sz="1400"/>
              <a:t>Ansvarliggjøring og strengere kontroll</a:t>
            </a:r>
          </a:p>
          <a:p>
            <a:pPr lvl="0"/>
            <a:r>
              <a:rPr lang="nb-NO" sz="1400"/>
              <a:t>Differensiering av oppgaveansvar mellom kommuner</a:t>
            </a:r>
          </a:p>
          <a:p>
            <a:pPr lvl="0">
              <a:spcAft>
                <a:spcPts val="1000"/>
              </a:spcAft>
            </a:pPr>
            <a:r>
              <a:rPr lang="nb-NO" sz="1400"/>
              <a:t>Flytting av lovpålagte oppgaver som kommunene ikke har forutsetninger for å løse</a:t>
            </a:r>
          </a:p>
          <a:p>
            <a:pPr marL="0" indent="0">
              <a:buNone/>
            </a:pPr>
            <a:endParaRPr lang="nb-NO" sz="1400" b="1"/>
          </a:p>
          <a:p>
            <a:endParaRPr lang="nb-NO"/>
          </a:p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8430FCE9-EFC5-4C8D-B4C5-3F67F83EDA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sz="1800" b="1" kern="0">
                <a:solidFill>
                  <a:srgbClr val="395775"/>
                </a:solidFill>
                <a:effectLst/>
                <a:latin typeface="Calibri" panose="020F0502020204030204" pitchFamily="34" charset="0"/>
                <a:ea typeface="MS PGothic" panose="020B0600070205080204" pitchFamily="34" charset="-128"/>
                <a:cs typeface="Times New Roman" panose="02020603050405020304" pitchFamily="18" charset="0"/>
              </a:rPr>
              <a:t>Forslag til tiltak for å bedre situasjonen</a:t>
            </a:r>
            <a:endParaRPr lang="nb-NO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9F0A20C1-1F2F-41DA-9B14-FBC27C54DB2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85F82ED-ED8F-44D3-A485-54CA3153A560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7" name="Plassholder for bunntekst 6">
            <a:extLst>
              <a:ext uri="{FF2B5EF4-FFF2-40B4-BE49-F238E27FC236}">
                <a16:creationId xmlns:a16="http://schemas.microsoft.com/office/drawing/2014/main" id="{6EFB14D1-9481-4B8E-8500-958588402B2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46C57678-EF84-4150-AF73-4492BFA546E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47013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172214A5-B374-47D5-84E5-5743BC6640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8048" y="4650236"/>
            <a:ext cx="8822752" cy="394341"/>
          </a:xfrm>
        </p:spPr>
        <p:txBody>
          <a:bodyPr/>
          <a:lstStyle/>
          <a:p>
            <a:r>
              <a:rPr lang="nb-NO"/>
              <a:t>Takk for oss! For Spørsmål: Simen Pedersen, partner/Menon, Tlf.: 95 99 38 88, e-post: simen@menon.no</a:t>
            </a:r>
          </a:p>
        </p:txBody>
      </p:sp>
      <p:pic>
        <p:nvPicPr>
          <p:cNvPr id="4" name="Plassholder for bilde 3">
            <a:extLst>
              <a:ext uri="{FF2B5EF4-FFF2-40B4-BE49-F238E27FC236}">
                <a16:creationId xmlns:a16="http://schemas.microsoft.com/office/drawing/2014/main" id="{E3B38109-75FF-4F3B-A486-5C9C71E3495A}"/>
              </a:ext>
            </a:extLst>
          </p:cNvPr>
          <p:cNvPicPr>
            <a:picLocks noGrp="1"/>
          </p:cNvPicPr>
          <p:nvPr>
            <p:ph type="pic" sz="quarter" idx="15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46933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DD5556FE-CC5B-44C4-8637-978CEAEDF7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13910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89" progId="TCLayout.ActiveDocument.1">
                  <p:embed/>
                </p:oleObj>
              </mc:Choice>
              <mc:Fallback>
                <p:oleObj name="think-cell Slide" r:id="rId3" imgW="389" imgH="389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DD5556FE-CC5B-44C4-8637-978CEAEDF7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642C7F29-9E6B-4831-BE6A-A3914B067960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67519" y="1520827"/>
            <a:ext cx="3969544" cy="3210718"/>
          </a:xfrm>
        </p:spPr>
        <p:txBody>
          <a:bodyPr/>
          <a:lstStyle/>
          <a:p>
            <a:r>
              <a:rPr lang="nb-NO" sz="1400"/>
              <a:t>Ingen kommuner oppfyller alle lovkrav, og de som har </a:t>
            </a:r>
            <a:r>
              <a:rPr lang="nb-NO" sz="1400" u="sng"/>
              <a:t>størst utfordringer </a:t>
            </a:r>
            <a:r>
              <a:rPr lang="nb-NO" sz="1400"/>
              <a:t>er kjennetegnet ved at de er: </a:t>
            </a:r>
          </a:p>
          <a:p>
            <a:pPr lvl="1"/>
            <a:r>
              <a:rPr lang="nb-NO" sz="1100"/>
              <a:t>Små (målt i innbyggertall)</a:t>
            </a:r>
          </a:p>
          <a:p>
            <a:pPr lvl="1"/>
            <a:r>
              <a:rPr lang="nb-NO" sz="1100"/>
              <a:t>Distriktskommuner</a:t>
            </a:r>
          </a:p>
          <a:p>
            <a:pPr lvl="1"/>
            <a:r>
              <a:rPr lang="nb-NO" sz="11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Økonomisk handlingsrom kan til en viss grad kompensere – men ikke fullt ut.</a:t>
            </a:r>
          </a:p>
          <a:p>
            <a:r>
              <a:rPr lang="nb-NO" sz="1400"/>
              <a:t>Kommunene som ikke inngår i analysen, pga. manglende data, er også små distriktskommuner. </a:t>
            </a:r>
          </a:p>
          <a:p>
            <a:r>
              <a:rPr lang="nb-NO" sz="1400"/>
              <a:t>Resultatene er robuste over tid.</a:t>
            </a:r>
          </a:p>
          <a:p>
            <a:r>
              <a:rPr lang="nb-NO" sz="1400"/>
              <a:t>Det finnes imidlertid eksempler på små distriktskommuner som har relativ høy grad av lovoppfyllelse.</a:t>
            </a:r>
          </a:p>
          <a:p>
            <a:pPr marL="0" indent="0">
              <a:buNone/>
            </a:pPr>
            <a:endParaRPr lang="nb-NO" sz="1400"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b-NO" sz="1400"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012B819-4D1D-4520-B93D-C0738C1D51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7" y="735014"/>
            <a:ext cx="8324159" cy="612774"/>
          </a:xfrm>
        </p:spPr>
        <p:txBody>
          <a:bodyPr vert="horz" lIns="91440" tIns="45720" rIns="91440" bIns="45720" anchor="t"/>
          <a:lstStyle/>
          <a:p>
            <a:r>
              <a:rPr lang="nb-NO">
                <a:latin typeface="Calibri"/>
                <a:cs typeface="Calibri"/>
              </a:rPr>
              <a:t>Ingen kommuner oppfyller alle lovkrav og små distriktskommuner har størst utfordringer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ABB440E-85C9-4057-BD44-22B33312D2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pic>
        <p:nvPicPr>
          <p:cNvPr id="30" name="Bilde 29">
            <a:extLst>
              <a:ext uri="{FF2B5EF4-FFF2-40B4-BE49-F238E27FC236}">
                <a16:creationId xmlns:a16="http://schemas.microsoft.com/office/drawing/2014/main" id="{5D3FF1D9-7B4B-4442-AB20-4DEF4711DC0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000" y="1965018"/>
            <a:ext cx="4323228" cy="2594513"/>
          </a:xfrm>
          <a:prstGeom prst="rect">
            <a:avLst/>
          </a:prstGeom>
        </p:spPr>
      </p:pic>
      <p:sp>
        <p:nvSpPr>
          <p:cNvPr id="31" name="TekstSylinder 30">
            <a:extLst>
              <a:ext uri="{FF2B5EF4-FFF2-40B4-BE49-F238E27FC236}">
                <a16:creationId xmlns:a16="http://schemas.microsoft.com/office/drawing/2014/main" id="{6FCF69EA-7644-4ED2-B480-386502883362}"/>
              </a:ext>
            </a:extLst>
          </p:cNvPr>
          <p:cNvSpPr txBox="1"/>
          <p:nvPr/>
        </p:nvSpPr>
        <p:spPr>
          <a:xfrm>
            <a:off x="4662766" y="4559531"/>
            <a:ext cx="28709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 dirty="0"/>
              <a:t>N=262 (74 prosent av kommunene)</a:t>
            </a:r>
          </a:p>
        </p:txBody>
      </p:sp>
      <p:sp>
        <p:nvSpPr>
          <p:cNvPr id="42" name="TekstSylinder 41">
            <a:extLst>
              <a:ext uri="{FF2B5EF4-FFF2-40B4-BE49-F238E27FC236}">
                <a16:creationId xmlns:a16="http://schemas.microsoft.com/office/drawing/2014/main" id="{BCEC4953-0F23-4886-B74B-03BBCA1DF69B}"/>
              </a:ext>
            </a:extLst>
          </p:cNvPr>
          <p:cNvSpPr txBox="1"/>
          <p:nvPr/>
        </p:nvSpPr>
        <p:spPr>
          <a:xfrm>
            <a:off x="4706939" y="1528860"/>
            <a:ext cx="414169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cs typeface="Calibri" charset="0"/>
              </a:rPr>
              <a:t>Prosentandel av 40 indikatorer på lovoppfyllelse som er tilfredsstilt</a:t>
            </a:r>
          </a:p>
        </p:txBody>
      </p:sp>
    </p:spTree>
    <p:extLst>
      <p:ext uri="{BB962C8B-B14F-4D97-AF65-F5344CB8AC3E}">
        <p14:creationId xmlns:p14="http://schemas.microsoft.com/office/powerpoint/2010/main" val="593471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9" name="Objekt 168" hidden="1">
            <a:extLst>
              <a:ext uri="{FF2B5EF4-FFF2-40B4-BE49-F238E27FC236}">
                <a16:creationId xmlns:a16="http://schemas.microsoft.com/office/drawing/2014/main" id="{9D9240CB-3902-41F0-9650-7CB5031668B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94551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3" progId="TCLayout.ActiveDocument.1">
                  <p:embed/>
                </p:oleObj>
              </mc:Choice>
              <mc:Fallback>
                <p:oleObj name="think-cell Slide" r:id="rId3" imgW="532" imgH="533" progId="TCLayout.ActiveDocument.1">
                  <p:embed/>
                  <p:pic>
                    <p:nvPicPr>
                      <p:cNvPr id="169" name="Objekt 168" hidden="1">
                        <a:extLst>
                          <a:ext uri="{FF2B5EF4-FFF2-40B4-BE49-F238E27FC236}">
                            <a16:creationId xmlns:a16="http://schemas.microsoft.com/office/drawing/2014/main" id="{9D9240CB-3902-41F0-9650-7CB5031668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318E2946-B35E-479B-AF0E-9B20D4F4E0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Oppdraget omfattet å svare på syv problemstillinger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A7C8690-65FE-4F61-A0A8-2D48D93754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4534EDEC-7244-4625-9F98-0B5E135CFD9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B561F5CC-0D5D-4571-AB1D-80409844B3FF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6D2390AE-AB1B-4C66-856A-51828B87C296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EAFD5209-85E8-44DC-AAEA-E216E1E35A35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>
            <a:normAutofit fontScale="70000" lnSpcReduction="20000"/>
          </a:bodyPr>
          <a:lstStyle/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latin typeface="Calibri" panose="020F0502020204030204" pitchFamily="34" charset="0"/>
                <a:cs typeface="Arial" panose="020B0604020202020204" pitchFamily="34" charset="0"/>
              </a:rPr>
              <a:t>Hvor mange av landets kommuner har utfordringer med å løse sine oppgaver?</a:t>
            </a:r>
          </a:p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latin typeface="Calibri" panose="020F0502020204030204" pitchFamily="34" charset="0"/>
                <a:cs typeface="Arial" panose="020B0604020202020204" pitchFamily="34" charset="0"/>
              </a:rPr>
              <a:t>Hvilke kjennetegn har kommunene som har utfordringer? Hva er de underliggende årsakene?</a:t>
            </a:r>
          </a:p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latin typeface="Calibri" panose="020F0502020204030204" pitchFamily="34" charset="0"/>
                <a:cs typeface="Arial" panose="020B0604020202020204" pitchFamily="34" charset="0"/>
              </a:rPr>
              <a:t>Hvilke fagområder er mest krevende?</a:t>
            </a:r>
          </a:p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latin typeface="Calibri" panose="020F0502020204030204" pitchFamily="34" charset="0"/>
                <a:cs typeface="Arial" panose="020B0604020202020204" pitchFamily="34" charset="0"/>
              </a:rPr>
              <a:t>Hvilken type krav er mest krevende?</a:t>
            </a:r>
          </a:p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latin typeface="Calibri" panose="020F0502020204030204" pitchFamily="34" charset="0"/>
                <a:cs typeface="Arial" panose="020B0604020202020204" pitchFamily="34" charset="0"/>
              </a:rPr>
              <a:t>Hva er kommunenes kapasitet og kompetanse til å utvikle kommunen i ønsket retning?</a:t>
            </a:r>
          </a:p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latin typeface="Calibri" panose="020F0502020204030204" pitchFamily="34" charset="0"/>
                <a:cs typeface="Arial" panose="020B0604020202020204" pitchFamily="34" charset="0"/>
              </a:rPr>
              <a:t>Kjenner kommunene seg igjen i situasjonen?</a:t>
            </a:r>
          </a:p>
          <a:p>
            <a:pPr marL="457200" indent="-457200">
              <a:lnSpc>
                <a:spcPct val="125000"/>
              </a:lnSpc>
              <a:spcAft>
                <a:spcPts val="1000"/>
              </a:spcAft>
              <a:buFont typeface="+mj-lt"/>
              <a:buAutoNum type="arabicPeriod"/>
            </a:pPr>
            <a:r>
              <a:rPr lang="nb-NO" sz="220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vilke forslag til tiltak kan bedre situasjonen?</a:t>
            </a:r>
          </a:p>
          <a:p>
            <a:pPr>
              <a:lnSpc>
                <a:spcPct val="125000"/>
              </a:lnSpc>
              <a:spcAft>
                <a:spcPts val="1000"/>
              </a:spcAft>
            </a:pPr>
            <a:endParaRPr lang="nb-NO" sz="28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Aft>
                <a:spcPts val="1000"/>
              </a:spcAft>
            </a:pPr>
            <a:endParaRPr lang="nb-NO" sz="24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25000"/>
              </a:lnSpc>
              <a:spcAft>
                <a:spcPts val="1000"/>
              </a:spcAft>
            </a:pPr>
            <a:endParaRPr lang="nb-NO" sz="20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b-NO" sz="18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b-NO" sz="200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526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ACB5AA1-92D8-41EF-8791-F13FB6CDB3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9327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9" imgH="389" progId="TCLayout.ActiveDocument.1">
                  <p:embed/>
                </p:oleObj>
              </mc:Choice>
              <mc:Fallback>
                <p:oleObj name="think-cell Slide" r:id="rId4" imgW="389" imgH="38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5ACB5AA1-92D8-41EF-8791-F13FB6CDB3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17D654C-5C44-4388-AD39-DE5151AD40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Metoden for å svare på problemstillingene har vært todelt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27A0F90-8D07-4654-8414-99558417F57E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b-NO"/>
              <a:t>Kvantitativ del</a:t>
            </a:r>
          </a:p>
          <a:p>
            <a:pPr lvl="1"/>
            <a:r>
              <a:rPr lang="nb-NO"/>
              <a:t>Basert på dialog med alle statsforvaltere og utvalgte direktorater har vi identifisert 40 krav det finnes statistikk for (34 krav er lov- og forskriftskrav, mens seks av dem er bør-krav)</a:t>
            </a:r>
          </a:p>
          <a:p>
            <a:pPr lvl="1"/>
            <a:r>
              <a:rPr lang="nb-NO"/>
              <a:t>Indikatorene er satt sammen til en samleindikator (basert på subjektiv vekting)</a:t>
            </a:r>
          </a:p>
          <a:p>
            <a:pPr lvl="1"/>
            <a:r>
              <a:rPr lang="nb-NO"/>
              <a:t>Forklart variasjoner i samleindikatoren ved hjelp av statistisk analyse </a:t>
            </a:r>
          </a:p>
          <a:p>
            <a:pPr lvl="1"/>
            <a:r>
              <a:rPr lang="nb-NO"/>
              <a:t>Gjennomført en rekke sensitivitetsanalyser for å undersøke resultatenes robusthet</a:t>
            </a:r>
          </a:p>
          <a:p>
            <a:pPr marL="180975" lvl="1" indent="0">
              <a:buNone/>
            </a:pPr>
            <a:endParaRPr lang="nb-NO"/>
          </a:p>
          <a:p>
            <a:r>
              <a:rPr lang="nb-NO"/>
              <a:t>Kvalitativ del</a:t>
            </a:r>
          </a:p>
          <a:p>
            <a:pPr lvl="1"/>
            <a:r>
              <a:rPr lang="nb-NO"/>
              <a:t>Intervjuer med statsforvaltere for å få innspill til det kvantitative opplegget og deres inntrykk om kommunenes kapasitet og kompetanse til å utvikle kommunen i ønsket retning</a:t>
            </a:r>
          </a:p>
          <a:p>
            <a:pPr lvl="1"/>
            <a:r>
              <a:rPr lang="nb-NO"/>
              <a:t>Intervjuer med kommuner for å undersøke om de kjenner seg igjen i foreløpige resultater</a:t>
            </a:r>
          </a:p>
          <a:p>
            <a:pPr marL="180975" lvl="1" indent="0">
              <a:buNone/>
            </a:pP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93D6FC2B-06E1-46F1-B6B7-0D139E7C7C3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FBE288F-2C11-42C2-B9DF-1D872C566BF8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32B691A5-6EF8-4378-A0DA-68775AEA12D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62F97AE-EB4B-448C-A4E5-903BF83A4A7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727764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688A7048-2E05-418F-B850-20508533D4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37749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688A7048-2E05-418F-B850-20508533D4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tel 4">
            <a:extLst>
              <a:ext uri="{FF2B5EF4-FFF2-40B4-BE49-F238E27FC236}">
                <a16:creationId xmlns:a16="http://schemas.microsoft.com/office/drawing/2014/main" id="{8FA99CD0-6BAA-4F07-B98C-FB014DB288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For at arbeidet skal være overkommelig har vi vært nødt til å sette flere avgrensninger</a:t>
            </a:r>
          </a:p>
        </p:txBody>
      </p:sp>
      <p:sp>
        <p:nvSpPr>
          <p:cNvPr id="7" name="Plassholder for innhold 6">
            <a:extLst>
              <a:ext uri="{FF2B5EF4-FFF2-40B4-BE49-F238E27FC236}">
                <a16:creationId xmlns:a16="http://schemas.microsoft.com/office/drawing/2014/main" id="{95F7CE9C-BA9F-47F5-94FE-843DC76EC3AE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>
            <a:normAutofit lnSpcReduction="10000"/>
          </a:bodyPr>
          <a:lstStyle/>
          <a:p>
            <a:r>
              <a:rPr lang="nb-NO" dirty="0"/>
              <a:t>Vi har ikke sett på indikatorer som fanger opp kommunens lovoppfyllelse som demokratisk arena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Vurderingen er avgrenset til 11 områder/tjenesteområder</a:t>
            </a:r>
          </a:p>
          <a:p>
            <a:pPr lvl="1"/>
            <a:r>
              <a:rPr lang="nb-NO" dirty="0"/>
              <a:t>Store tjenester </a:t>
            </a:r>
          </a:p>
          <a:p>
            <a:pPr lvl="1"/>
            <a:r>
              <a:rPr lang="nb-NO" dirty="0"/>
              <a:t>Spesialiserte tjenester mot sårbare grupper </a:t>
            </a:r>
          </a:p>
          <a:p>
            <a:pPr lvl="1"/>
            <a:r>
              <a:rPr lang="nb-NO" dirty="0"/>
              <a:t>Samfunnskritiske tjenester </a:t>
            </a:r>
          </a:p>
          <a:p>
            <a:r>
              <a:rPr lang="nb-NO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nnenfor hvert område har vi valgt ut indikatorer/data som fanger opp kommunenes lovoppfyllelse innenfor relevante lover og forskrifter</a:t>
            </a:r>
            <a:endParaRPr lang="nb-NO" dirty="0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84B38DC6-3C43-4EA1-9511-466838E34B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DFBF5354-354E-4F12-B0D7-BC3D49395F0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1AF5DF45-64A6-F04F-9F17-296EC321A6D3}" type="datetime1">
              <a:rPr lang="nb-NO" smtClean="0"/>
              <a:t>15.11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CE73DA9-21C3-47F9-AC0F-D97769E20358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5055F6C9-1056-49F7-A608-CCBB943C615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B4A0E1B-6928-413F-B10B-EA3BF5B40920}" type="slidenum">
              <a:rPr lang="nb-NO" smtClean="0"/>
              <a:pPr/>
              <a:t>5</a:t>
            </a:fld>
            <a:endParaRPr lang="nb-NO"/>
          </a:p>
        </p:txBody>
      </p:sp>
      <p:graphicFrame>
        <p:nvGraphicFramePr>
          <p:cNvPr id="24" name="Diagram 23">
            <a:extLst>
              <a:ext uri="{FF2B5EF4-FFF2-40B4-BE49-F238E27FC236}">
                <a16:creationId xmlns:a16="http://schemas.microsoft.com/office/drawing/2014/main" id="{E9292628-D148-41EF-A755-9D8C71E3208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28492656"/>
              </p:ext>
            </p:extLst>
          </p:nvPr>
        </p:nvGraphicFramePr>
        <p:xfrm>
          <a:off x="773206" y="1722041"/>
          <a:ext cx="7597588" cy="1371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5" name="Multiplikasjonstegn 24">
            <a:extLst>
              <a:ext uri="{FF2B5EF4-FFF2-40B4-BE49-F238E27FC236}">
                <a16:creationId xmlns:a16="http://schemas.microsoft.com/office/drawing/2014/main" id="{82F64F7C-C6FC-4001-865D-282F206E071D}"/>
              </a:ext>
            </a:extLst>
          </p:cNvPr>
          <p:cNvSpPr/>
          <p:nvPr/>
        </p:nvSpPr>
        <p:spPr>
          <a:xfrm>
            <a:off x="6434859" y="1937194"/>
            <a:ext cx="1116106" cy="941294"/>
          </a:xfrm>
          <a:prstGeom prst="mathMultiply">
            <a:avLst/>
          </a:prstGeom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288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0FA201CF-D3EF-49AA-8900-8EA0EF5BFA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689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9" imgH="389" progId="TCLayout.ActiveDocument.1">
                  <p:embed/>
                </p:oleObj>
              </mc:Choice>
              <mc:Fallback>
                <p:oleObj name="think-cell Slide" r:id="rId3" imgW="389" imgH="389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0FA201CF-D3EF-49AA-8900-8EA0EF5BFA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04144A8-C3CF-423E-8176-F5EBD5E63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ommunene som ikke er med i utvalget er små distriktskommuner</a:t>
            </a:r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0A47C81F-4264-4671-B90B-BA59E243CBC1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67695" y="1455738"/>
            <a:ext cx="8138423" cy="3275807"/>
          </a:xfrm>
        </p:spPr>
        <p:txBody>
          <a:bodyPr>
            <a:normAutofit fontScale="85000" lnSpcReduction="20000"/>
          </a:bodyPr>
          <a:lstStyle/>
          <a:p>
            <a:r>
              <a:rPr lang="nb-NO"/>
              <a:t>Vi har tilstrekkelig med data for 262 av 356 kommuner (74 prosent)</a:t>
            </a:r>
          </a:p>
          <a:p>
            <a:pPr marL="0" indent="0">
              <a:buNone/>
            </a:pPr>
            <a:endParaRPr lang="nb-NO"/>
          </a:p>
          <a:p>
            <a:r>
              <a:rPr lang="nb-NO"/>
              <a:t>Kommunene som ikke er med i analysen:</a:t>
            </a:r>
          </a:p>
          <a:p>
            <a:pPr lvl="1"/>
            <a:r>
              <a:rPr lang="nb-NO"/>
              <a:t>Er mindre i størrelse</a:t>
            </a:r>
          </a:p>
          <a:p>
            <a:pPr lvl="1"/>
            <a:r>
              <a:rPr lang="nb-NO"/>
              <a:t>Har lavere sentralitet</a:t>
            </a:r>
          </a:p>
          <a:p>
            <a:pPr lvl="1"/>
            <a:r>
              <a:rPr lang="nb-NO"/>
              <a:t>Har lavere befolkningsvekst</a:t>
            </a:r>
          </a:p>
          <a:p>
            <a:pPr lvl="1"/>
            <a:r>
              <a:rPr lang="nb-NO"/>
              <a:t>Har høyere økonomisk handlingsrom</a:t>
            </a:r>
          </a:p>
          <a:p>
            <a:pPr marL="180975" lvl="1" indent="0">
              <a:buNone/>
            </a:pPr>
            <a:endParaRPr lang="nb-NO"/>
          </a:p>
          <a:p>
            <a:r>
              <a:rPr lang="nb-NO"/>
              <a:t>Datagrunnlaget som er anvendt i analysen er skjevt i disse dimensjonene</a:t>
            </a:r>
          </a:p>
          <a:p>
            <a:pPr marL="0" indent="0">
              <a:buNone/>
            </a:pPr>
            <a:endParaRPr lang="nb-NO"/>
          </a:p>
          <a:p>
            <a:r>
              <a:rPr lang="nb-NO"/>
              <a:t>De som ikke inngår i datagrunnlaget har tilsvarende kjennetegn som de kommunene som har lav grad av lovoppfyllelse</a:t>
            </a:r>
          </a:p>
          <a:p>
            <a:pPr marL="0" indent="0">
              <a:buNone/>
            </a:pPr>
            <a:endParaRPr lang="nb-NO"/>
          </a:p>
          <a:p>
            <a:pPr marL="180975" lvl="1" indent="-180975">
              <a:spcBef>
                <a:spcPts val="500"/>
              </a:spcBef>
              <a:buClr>
                <a:schemeClr val="accent2"/>
              </a:buClr>
              <a:buFont typeface="Arial" charset="0"/>
              <a:buChar char="•"/>
            </a:pPr>
            <a:r>
              <a:rPr lang="nb-NO" sz="1800"/>
              <a:t>Det hadde vært mer utfordrende hvis vi ikke hadde data for kommunetyper det er relativt få av</a:t>
            </a:r>
          </a:p>
          <a:p>
            <a:pPr marL="180975" lvl="1" indent="0">
              <a:buNone/>
            </a:pPr>
            <a:endParaRPr lang="nb-NO"/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4B7A6015-B3A3-42E4-8E98-BE4B50965B2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19A878D2-3C57-4013-8300-D94574A01CD4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FF28B84B-CDCF-4EA9-90DE-E0BA2EE2488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E4B8B83E-788A-4EDD-915A-1F4A6AE79B01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0647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474C1564-9B86-419F-B2D1-30651DB5AF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8320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474C1564-9B86-419F-B2D1-30651DB5A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67F94378-21D0-4ABC-A2EB-47ED294327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Graden av lovoppfyllelse varierer mellom 50 prosent og 99 prosent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ACE5D54-3286-4CAC-A03F-452B1F4A083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40E27120-1A44-4A86-88BD-5349231F8F6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DED5BF9-9F91-4AA2-AD0E-F8294AEB2F3C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BC2F40F-C053-4958-AAD4-D256ABEC457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7</a:t>
            </a:fld>
            <a:endParaRPr lang="nb-NO"/>
          </a:p>
        </p:txBody>
      </p:sp>
      <p:pic>
        <p:nvPicPr>
          <p:cNvPr id="8" name="Plassholder for innhold 7">
            <a:extLst>
              <a:ext uri="{FF2B5EF4-FFF2-40B4-BE49-F238E27FC236}">
                <a16:creationId xmlns:a16="http://schemas.microsoft.com/office/drawing/2014/main" id="{6CFCB010-93AA-4D5E-81A2-05ACE1B08AAF}"/>
              </a:ext>
            </a:extLst>
          </p:cNvPr>
          <p:cNvPicPr>
            <a:picLocks noGrp="1" noChangeAspect="1"/>
          </p:cNvPicPr>
          <p:nvPr>
            <p:ph sz="quarter" idx="18"/>
          </p:nvPr>
        </p:nvPicPr>
        <p:blipFill>
          <a:blip r:embed="rId5"/>
          <a:stretch>
            <a:fillRect/>
          </a:stretch>
        </p:blipFill>
        <p:spPr>
          <a:xfrm>
            <a:off x="592623" y="1663762"/>
            <a:ext cx="4573524" cy="2744724"/>
          </a:xfrm>
          <a:prstGeom prst="rect">
            <a:avLst/>
          </a:prstGeom>
        </p:spPr>
      </p:pic>
      <p:sp>
        <p:nvSpPr>
          <p:cNvPr id="24" name="TekstSylinder 23">
            <a:extLst>
              <a:ext uri="{FF2B5EF4-FFF2-40B4-BE49-F238E27FC236}">
                <a16:creationId xmlns:a16="http://schemas.microsoft.com/office/drawing/2014/main" id="{88535763-852A-4571-B7F3-FBED724E55A8}"/>
              </a:ext>
            </a:extLst>
          </p:cNvPr>
          <p:cNvSpPr txBox="1"/>
          <p:nvPr/>
        </p:nvSpPr>
        <p:spPr>
          <a:xfrm>
            <a:off x="716055" y="1211917"/>
            <a:ext cx="459217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1400" b="1"/>
              <a:t>Prosentandel av 40 indikatorer på lovoppfyllelse som er tilfredsstilt</a:t>
            </a:r>
          </a:p>
        </p:txBody>
      </p:sp>
      <p:sp>
        <p:nvSpPr>
          <p:cNvPr id="25" name="TekstSylinder 24">
            <a:extLst>
              <a:ext uri="{FF2B5EF4-FFF2-40B4-BE49-F238E27FC236}">
                <a16:creationId xmlns:a16="http://schemas.microsoft.com/office/drawing/2014/main" id="{C06AF6F9-5A89-4C37-9A18-3C59A36DBB00}"/>
              </a:ext>
            </a:extLst>
          </p:cNvPr>
          <p:cNvSpPr txBox="1"/>
          <p:nvPr/>
        </p:nvSpPr>
        <p:spPr>
          <a:xfrm>
            <a:off x="625509" y="4403576"/>
            <a:ext cx="287094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900" i="1"/>
              <a:t>N=262 (74 prosent av kommunene)</a:t>
            </a:r>
          </a:p>
        </p:txBody>
      </p:sp>
      <p:sp>
        <p:nvSpPr>
          <p:cNvPr id="27" name="TekstSylinder 26">
            <a:extLst>
              <a:ext uri="{FF2B5EF4-FFF2-40B4-BE49-F238E27FC236}">
                <a16:creationId xmlns:a16="http://schemas.microsoft.com/office/drawing/2014/main" id="{2352C9A7-3071-48DF-BF7F-72030AE9E3AF}"/>
              </a:ext>
            </a:extLst>
          </p:cNvPr>
          <p:cNvSpPr txBox="1"/>
          <p:nvPr/>
        </p:nvSpPr>
        <p:spPr>
          <a:xfrm>
            <a:off x="5624011" y="1315480"/>
            <a:ext cx="2894480" cy="19436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nb-NO" sz="1500" b="1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cs typeface="Calibri" charset="0"/>
              </a:rPr>
              <a:t>Konklusjon: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nb-NO" sz="15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cs typeface="Calibri" charset="0"/>
              </a:rPr>
              <a:t>Ingen kommuner tilfredsstiller alle lovkrav</a:t>
            </a:r>
          </a:p>
          <a:p>
            <a:pPr>
              <a:lnSpc>
                <a:spcPct val="80000"/>
              </a:lnSpc>
            </a:pPr>
            <a:endParaRPr lang="nb-NO" sz="1500">
              <a:solidFill>
                <a:schemeClr val="tx1">
                  <a:lumMod val="65000"/>
                  <a:lumOff val="35000"/>
                </a:schemeClr>
              </a:solidFill>
              <a:latin typeface="Calibri" charset="0"/>
              <a:cs typeface="Calibri" charset="0"/>
            </a:endParaRPr>
          </a:p>
          <a:p>
            <a:pPr>
              <a:lnSpc>
                <a:spcPct val="80000"/>
              </a:lnSpc>
            </a:pPr>
            <a:r>
              <a:rPr lang="nb-NO" sz="1500" b="1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cs typeface="Calibri" charset="0"/>
              </a:rPr>
              <a:t>Det skyldes at: 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nb-NO" sz="15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cs typeface="Calibri" charset="0"/>
              </a:rPr>
              <a:t>Kommunene sannsynligvis står overfor mange tusen lovkrav</a:t>
            </a:r>
          </a:p>
          <a:p>
            <a:pPr marL="285750" indent="-285750">
              <a:lnSpc>
                <a:spcPct val="80000"/>
              </a:lnSpc>
              <a:buFont typeface="Arial" panose="020B0604020202020204" pitchFamily="34" charset="0"/>
              <a:buChar char="•"/>
            </a:pPr>
            <a:r>
              <a:rPr lang="nb-NO" sz="1500">
                <a:solidFill>
                  <a:schemeClr val="tx1">
                    <a:lumMod val="65000"/>
                    <a:lumOff val="35000"/>
                  </a:schemeClr>
                </a:solidFill>
                <a:latin typeface="Calibri" charset="0"/>
                <a:cs typeface="Calibri" charset="0"/>
              </a:rPr>
              <a:t>Ingen tar det helhetlige ansvaret for å vurdere den totale mengden av lovkrav</a:t>
            </a:r>
          </a:p>
        </p:txBody>
      </p:sp>
    </p:spTree>
    <p:extLst>
      <p:ext uri="{BB962C8B-B14F-4D97-AF65-F5344CB8AC3E}">
        <p14:creationId xmlns:p14="http://schemas.microsoft.com/office/powerpoint/2010/main" val="3760847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77648CCD-9D66-4790-8DBF-A9131E86900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41999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77648CCD-9D66-4790-8DBF-A9131E8690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ittel 10">
            <a:extLst>
              <a:ext uri="{FF2B5EF4-FFF2-40B4-BE49-F238E27FC236}">
                <a16:creationId xmlns:a16="http://schemas.microsoft.com/office/drawing/2014/main" id="{24275B17-12B2-4A1C-A9A6-531D5F5568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Det finnes eksempler på små kommuner og distriktskommuner som har relativt høy grad av lovoppfyllelse</a:t>
            </a:r>
          </a:p>
        </p:txBody>
      </p:sp>
      <p:sp>
        <p:nvSpPr>
          <p:cNvPr id="37" name="Plassholder for tekst 36">
            <a:extLst>
              <a:ext uri="{FF2B5EF4-FFF2-40B4-BE49-F238E27FC236}">
                <a16:creationId xmlns:a16="http://schemas.microsoft.com/office/drawing/2014/main" id="{53F00B26-F007-4CEB-928E-6FF1955B0EC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38" name="Plassholder for tekst 37">
            <a:extLst>
              <a:ext uri="{FF2B5EF4-FFF2-40B4-BE49-F238E27FC236}">
                <a16:creationId xmlns:a16="http://schemas.microsoft.com/office/drawing/2014/main" id="{FF774962-323C-4E41-8963-D4A35A8B6AB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nb-NO"/>
              <a:t>Grad av lovoppfyllelse etter sentralitetsgrad</a:t>
            </a:r>
          </a:p>
        </p:txBody>
      </p:sp>
      <p:sp>
        <p:nvSpPr>
          <p:cNvPr id="41" name="Plassholder for tekst 40">
            <a:extLst>
              <a:ext uri="{FF2B5EF4-FFF2-40B4-BE49-F238E27FC236}">
                <a16:creationId xmlns:a16="http://schemas.microsoft.com/office/drawing/2014/main" id="{1F482022-37C5-4BB4-8110-59219558AB0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nb-NO"/>
              <a:t>Grad av lovoppfyllelse etter innbyggertall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9CC500F1-A94F-40BF-BFBB-5416905BB9BE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fld id="{1251E318-318D-3D4A-A940-EAC0044E53F6}" type="datetime1">
              <a:rPr lang="nb-NO" smtClean="0"/>
              <a:t>15.11.2023</a:t>
            </a:fld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26A338C0-095F-4E8A-B617-9D204BFF3965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128390CA-EF09-4182-B1E0-36FE4C5C6121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8</a:t>
            </a:fld>
            <a:endParaRPr lang="nb-NO"/>
          </a:p>
        </p:txBody>
      </p:sp>
      <p:pic>
        <p:nvPicPr>
          <p:cNvPr id="42" name="Plassholder for innhold 41">
            <a:extLst>
              <a:ext uri="{FF2B5EF4-FFF2-40B4-BE49-F238E27FC236}">
                <a16:creationId xmlns:a16="http://schemas.microsoft.com/office/drawing/2014/main" id="{2B35C548-C935-4C4C-ABA0-94A707511351}"/>
              </a:ext>
            </a:extLst>
          </p:cNvPr>
          <p:cNvPicPr>
            <a:picLocks noGrp="1"/>
          </p:cNvPicPr>
          <p:nvPr>
            <p:ph sz="quarter" idx="19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2132159"/>
            <a:ext cx="3968750" cy="2465094"/>
          </a:xfrm>
          <a:prstGeom prst="rect">
            <a:avLst/>
          </a:prstGeom>
          <a:noFill/>
          <a:ln>
            <a:noFill/>
          </a:ln>
        </p:spPr>
      </p:pic>
      <p:pic>
        <p:nvPicPr>
          <p:cNvPr id="43" name="Plassholder for innhold 42">
            <a:extLst>
              <a:ext uri="{FF2B5EF4-FFF2-40B4-BE49-F238E27FC236}">
                <a16:creationId xmlns:a16="http://schemas.microsoft.com/office/drawing/2014/main" id="{FF4088D3-F8F9-4C0F-B9BC-2CF0C253E31E}"/>
              </a:ext>
            </a:extLst>
          </p:cNvPr>
          <p:cNvPicPr>
            <a:picLocks noGrp="1"/>
          </p:cNvPicPr>
          <p:nvPr>
            <p:ph sz="quarter" idx="20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8050" y="2186560"/>
            <a:ext cx="3968750" cy="2342746"/>
          </a:xfrm>
          <a:prstGeom prst="rect">
            <a:avLst/>
          </a:prstGeom>
          <a:noFill/>
          <a:ln>
            <a:noFill/>
          </a:ln>
        </p:spPr>
      </p:pic>
      <p:sp>
        <p:nvSpPr>
          <p:cNvPr id="44" name="Ellipse 43">
            <a:extLst>
              <a:ext uri="{FF2B5EF4-FFF2-40B4-BE49-F238E27FC236}">
                <a16:creationId xmlns:a16="http://schemas.microsoft.com/office/drawing/2014/main" id="{E2F5CD0D-C750-4D74-BC7E-0D6A7FE7E39B}"/>
              </a:ext>
            </a:extLst>
          </p:cNvPr>
          <p:cNvSpPr/>
          <p:nvPr/>
        </p:nvSpPr>
        <p:spPr>
          <a:xfrm rot="20830036">
            <a:off x="5291418" y="2422112"/>
            <a:ext cx="806823" cy="1815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45" name="Ellipse 44">
            <a:extLst>
              <a:ext uri="{FF2B5EF4-FFF2-40B4-BE49-F238E27FC236}">
                <a16:creationId xmlns:a16="http://schemas.microsoft.com/office/drawing/2014/main" id="{1808EDF7-1964-4A3A-A6F1-F62AC5A3A311}"/>
              </a:ext>
            </a:extLst>
          </p:cNvPr>
          <p:cNvSpPr/>
          <p:nvPr/>
        </p:nvSpPr>
        <p:spPr>
          <a:xfrm rot="323247">
            <a:off x="3314699" y="2334182"/>
            <a:ext cx="840577" cy="181536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24043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73B70011-0077-4370-8675-731F4C83DDE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48273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73B70011-0077-4370-8675-731F4C83DDE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C23AA66A-8C73-413E-8692-021612D5B92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r>
              <a:rPr lang="nb-NO"/>
              <a:t>For å finne ut av hva som kjennetegner kommuner med størst utfordringer har vi gjennomført </a:t>
            </a:r>
            <a:r>
              <a:rPr lang="nb-NO" u="sng"/>
              <a:t>statistisk analyse</a:t>
            </a:r>
          </a:p>
          <a:p>
            <a:r>
              <a:rPr lang="nb-NO"/>
              <a:t>Formålet med den statistisk analysen er å forklare </a:t>
            </a:r>
            <a:r>
              <a:rPr lang="nb-NO" u="sng"/>
              <a:t>systematiske forskjeller </a:t>
            </a:r>
            <a:r>
              <a:rPr lang="nb-NO"/>
              <a:t>i grad av lovoppfyllelse mellom kommuner</a:t>
            </a:r>
          </a:p>
        </p:txBody>
      </p:sp>
      <p:sp>
        <p:nvSpPr>
          <p:cNvPr id="11" name="Plassholder for innhold 10">
            <a:extLst>
              <a:ext uri="{FF2B5EF4-FFF2-40B4-BE49-F238E27FC236}">
                <a16:creationId xmlns:a16="http://schemas.microsoft.com/office/drawing/2014/main" id="{D3C334CA-9DA1-409C-BD31-89B76B8CFD64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r>
              <a:rPr lang="nb-NO"/>
              <a:t>Basert på tidligere forskning på feltet har vi testet om følgende størrelser kan </a:t>
            </a:r>
            <a:r>
              <a:rPr lang="nb-NO" u="sng"/>
              <a:t>forklare</a:t>
            </a:r>
            <a:r>
              <a:rPr lang="nb-NO"/>
              <a:t> variasjonene:</a:t>
            </a:r>
          </a:p>
          <a:p>
            <a:pPr lvl="1"/>
            <a:r>
              <a:rPr lang="nb-NO"/>
              <a:t>Innbyggertall i kommunen</a:t>
            </a:r>
          </a:p>
          <a:p>
            <a:pPr lvl="1"/>
            <a:r>
              <a:rPr lang="nb-NO"/>
              <a:t>Befolkningsutvikling siste fem år</a:t>
            </a:r>
          </a:p>
          <a:p>
            <a:pPr lvl="1"/>
            <a:r>
              <a:rPr lang="nb-NO"/>
              <a:t>Økonomisk handlingsrom</a:t>
            </a:r>
          </a:p>
          <a:p>
            <a:pPr lvl="1"/>
            <a:r>
              <a:rPr lang="nb-NO"/>
              <a:t>Grad av sentralitet</a:t>
            </a:r>
          </a:p>
          <a:p>
            <a:pPr lvl="1"/>
            <a:r>
              <a:rPr lang="nb-NO"/>
              <a:t>Partifragmentering</a:t>
            </a:r>
          </a:p>
          <a:p>
            <a:endParaRPr lang="nb-NO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1360E7DE-D336-48D5-A1EF-13BAF91D045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Metoden for å finne kjennetegn ved kommuner med lav grad av lovoppfyllelse har vært statistiske analyser</a:t>
            </a:r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86B14189-A8D7-446D-89D8-1727EFD375C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nb-NO"/>
              <a:t>KARTLEGGING AV KOMMUNER SOM HAR UTFORDRINGER MED Å LØSE SINE OPPGAVER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17DD416-0779-4431-A89E-8D4544A95F2C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20E67170-BACA-0948-872C-023798A4F67F}" type="datetime1">
              <a:rPr lang="nb-NO" smtClean="0"/>
              <a:t>15.11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65B9E413-9F75-4969-AF02-F2299BABD1AE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nb-NO"/>
              <a:t>Menon Economics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1A82BE8B-E21B-4B85-9124-A5CC33A73E6E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r>
              <a:rPr lang="nb-NO"/>
              <a:t> </a:t>
            </a:r>
            <a:fld id="{4B4A0E1B-6928-413F-B10B-EA3BF5B40920}" type="slidenum">
              <a:rPr lang="nb-NO" smtClean="0"/>
              <a:pPr/>
              <a:t>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9975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47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non PPT">
  <a:themeElements>
    <a:clrScheme name="Egendefinert 22">
      <a:dk1>
        <a:srgbClr val="000000"/>
      </a:dk1>
      <a:lt1>
        <a:srgbClr val="FFFFFF"/>
      </a:lt1>
      <a:dk2>
        <a:srgbClr val="C0C1BF"/>
      </a:dk2>
      <a:lt2>
        <a:srgbClr val="EFEEED"/>
      </a:lt2>
      <a:accent1>
        <a:srgbClr val="395775"/>
      </a:accent1>
      <a:accent2>
        <a:srgbClr val="D77F16"/>
      </a:accent2>
      <a:accent3>
        <a:srgbClr val="737B82"/>
      </a:accent3>
      <a:accent4>
        <a:srgbClr val="ACB3B8"/>
      </a:accent4>
      <a:accent5>
        <a:srgbClr val="A6B340"/>
      </a:accent5>
      <a:accent6>
        <a:srgbClr val="941100"/>
      </a:accent6>
      <a:hlink>
        <a:srgbClr val="0432FF"/>
      </a:hlink>
      <a:folHlink>
        <a:srgbClr val="75D5FF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non PPT" id="{308A0185-412B-4167-BC3B-A467E752F330}" vid="{07485CEF-8AD6-4456-9B0F-E85CD5D8ECD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525" row="5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9C03A8F5-2F16-41D6-951E-865C9568BF5F}">
  <we:reference id="1f4df590-35fc-4b16-a239-39709f9d8a74" version="1.0.0.1" store="EXCatalog" storeType="EXCatalog"/>
  <we:alternateReferences>
    <we:reference id="WA104381063" version="1.0.0.1" store="nb-NO" storeType="OMEX"/>
  </we:alternateReferences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ompleted xmlns="87de0cc3-77a6-4eac-9de6-50006b10d46b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FE278DF57172A4DB4488580286B937D" ma:contentTypeVersion="8" ma:contentTypeDescription="Opprett et nytt dokument." ma:contentTypeScope="" ma:versionID="28213ac282e3a47cd29da21c09f236bb">
  <xsd:schema xmlns:xsd="http://www.w3.org/2001/XMLSchema" xmlns:xs="http://www.w3.org/2001/XMLSchema" xmlns:p="http://schemas.microsoft.com/office/2006/metadata/properties" xmlns:ns2="87de0cc3-77a6-4eac-9de6-50006b10d46b" xmlns:ns3="ab63b8f4-3cf9-40f7-9710-187e17edb0b6" targetNamespace="http://schemas.microsoft.com/office/2006/metadata/properties" ma:root="true" ma:fieldsID="0f968ce7a65117802dd99e119cf756c8" ns2:_="" ns3:_="">
    <xsd:import namespace="87de0cc3-77a6-4eac-9de6-50006b10d46b"/>
    <xsd:import namespace="ab63b8f4-3cf9-40f7-9710-187e17edb0b6"/>
    <xsd:element name="properties">
      <xsd:complexType>
        <xsd:sequence>
          <xsd:element name="documentManagement">
            <xsd:complexType>
              <xsd:all>
                <xsd:element ref="ns2:Completed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7de0cc3-77a6-4eac-9de6-50006b10d46b" elementFormDefault="qualified">
    <xsd:import namespace="http://schemas.microsoft.com/office/2006/documentManagement/types"/>
    <xsd:import namespace="http://schemas.microsoft.com/office/infopath/2007/PartnerControls"/>
    <xsd:element name="Completed" ma:index="8" nillable="true" ma:displayName="Completed" ma:internalName="Completed">
      <xsd:simpleType>
        <xsd:restriction base="dms:Boolean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ObjectDetectorVersions" ma:index="1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63b8f4-3cf9-40f7-9710-187e17edb0b6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1319CED-5400-49D8-99C3-6DF289C4612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44BEB68-0B68-4081-8A85-EB5B7C2CDD1C}">
  <ds:schemaRefs>
    <ds:schemaRef ds:uri="87de0cc3-77a6-4eac-9de6-50006b10d46b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3F30300-3DE4-4245-93A4-2B7A01932EAB}"/>
</file>

<file path=docProps/app.xml><?xml version="1.0" encoding="utf-8"?>
<Properties xmlns="http://schemas.openxmlformats.org/officeDocument/2006/extended-properties" xmlns:vt="http://schemas.openxmlformats.org/officeDocument/2006/docPropsVTypes">
  <Template>Menon PPT</Template>
  <TotalTime>25</TotalTime>
  <Words>1622</Words>
  <Application>Microsoft Office PowerPoint</Application>
  <PresentationFormat>Skjermfremvisning (16:9)</PresentationFormat>
  <Paragraphs>206</Paragraphs>
  <Slides>16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6</vt:i4>
      </vt:variant>
    </vt:vector>
  </HeadingPairs>
  <TitlesOfParts>
    <vt:vector size="21" baseType="lpstr">
      <vt:lpstr>.AppleSystemUIFont</vt:lpstr>
      <vt:lpstr>Arial</vt:lpstr>
      <vt:lpstr>Calibri</vt:lpstr>
      <vt:lpstr>Menon PPT</vt:lpstr>
      <vt:lpstr>think-cell Slide</vt:lpstr>
      <vt:lpstr>Ståa i norske kommuner KARTLEGGING AV KOMMUNER SOM HAR UTFORDRINGER MED Å LØSE SINE OPPGAVER</vt:lpstr>
      <vt:lpstr>Ingen kommuner oppfyller alle lovkrav og små distriktskommuner har størst utfordringer</vt:lpstr>
      <vt:lpstr>Oppdraget omfattet å svare på syv problemstillinger</vt:lpstr>
      <vt:lpstr>Metoden for å svare på problemstillingene har vært todelt</vt:lpstr>
      <vt:lpstr>For at arbeidet skal være overkommelig har vi vært nødt til å sette flere avgrensninger</vt:lpstr>
      <vt:lpstr>Kommunene som ikke er med i utvalget er små distriktskommuner</vt:lpstr>
      <vt:lpstr>Graden av lovoppfyllelse varierer mellom 50 prosent og 99 prosent</vt:lpstr>
      <vt:lpstr>Det finnes eksempler på små kommuner og distriktskommuner som har relativt høy grad av lovoppfyllelse</vt:lpstr>
      <vt:lpstr>Metoden for å finne kjennetegn ved kommuner med lav grad av lovoppfyllelse har vært statistiske analyser</vt:lpstr>
      <vt:lpstr>Små distriktskommuner har størst utfordringer med lovoppfyllelsen</vt:lpstr>
      <vt:lpstr>Modellen fanger opp det samme mønsteret som vi kan observere i faktiske data</vt:lpstr>
      <vt:lpstr>Lovkrav som krever spesialiserte og tverrfaglige fagmiljø er særlig utfordrende</vt:lpstr>
      <vt:lpstr>Statsforvalteres erfaringer</vt:lpstr>
      <vt:lpstr>Tilbake til hovedkonklusjonene</vt:lpstr>
      <vt:lpstr>Forslag til tiltak for å bedre situasjonen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ARTLEGGING AV KOMMUNER SOM HAR UTFORDRINGER MED Å LØSE SINE OPPGAVER</dc:title>
  <dc:creator>Iselin Kjelsaas</dc:creator>
  <cp:lastModifiedBy>Simen Pedersen</cp:lastModifiedBy>
  <cp:revision>1</cp:revision>
  <dcterms:created xsi:type="dcterms:W3CDTF">2021-06-23T09:19:05Z</dcterms:created>
  <dcterms:modified xsi:type="dcterms:W3CDTF">2023-11-15T09:57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E278DF57172A4DB4488580286B937D</vt:lpwstr>
  </property>
</Properties>
</file>